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7" r:id="rId2"/>
    <p:sldId id="256" r:id="rId3"/>
    <p:sldId id="258" r:id="rId4"/>
    <p:sldId id="259" r:id="rId5"/>
    <p:sldId id="260" r:id="rId6"/>
    <p:sldId id="265" r:id="rId7"/>
    <p:sldId id="266" r:id="rId8"/>
    <p:sldId id="267" r:id="rId9"/>
    <p:sldId id="268" r:id="rId10"/>
    <p:sldId id="269" r:id="rId11"/>
    <p:sldId id="264" r:id="rId12"/>
    <p:sldId id="270" r:id="rId13"/>
    <p:sldId id="273" r:id="rId14"/>
    <p:sldId id="272" r:id="rId15"/>
    <p:sldId id="274" r:id="rId16"/>
    <p:sldId id="275" r:id="rId17"/>
    <p:sldId id="276" r:id="rId18"/>
    <p:sldId id="277" r:id="rId19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학생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05203559264082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8156106777922461E-2"/>
                  <c:y val="5.091151658592981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rgbClr val="C00000"/>
                    </a:solidFill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항목 1</c:v>
                </c:pt>
                <c:pt idx="1">
                  <c:v>항목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3.5</c:v>
                </c:pt>
                <c:pt idx="1">
                  <c:v>76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학부모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513008898160205E-2"/>
                  <c:y val="-1.01823033171859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20814237056328E-2"/>
                  <c:y val="-1.01827041952693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항목 1</c:v>
                </c:pt>
                <c:pt idx="1">
                  <c:v>항목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7.7</c:v>
                </c:pt>
                <c:pt idx="1">
                  <c:v>72.3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업주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51300889816020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420814237056328E-2"/>
                  <c:y val="-5.091151658592981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항목 1</c:v>
                </c:pt>
                <c:pt idx="1">
                  <c:v>항목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9</c:v>
                </c:pt>
                <c:pt idx="1">
                  <c:v>5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67779968"/>
        <c:axId val="67785856"/>
        <c:axId val="0"/>
      </c:bar3DChart>
      <c:catAx>
        <c:axId val="67779968"/>
        <c:scaling>
          <c:orientation val="minMax"/>
        </c:scaling>
        <c:delete val="1"/>
        <c:axPos val="b"/>
        <c:majorTickMark val="out"/>
        <c:minorTickMark val="none"/>
        <c:tickLblPos val="nextTo"/>
        <c:crossAx val="67785856"/>
        <c:crosses val="autoZero"/>
        <c:auto val="1"/>
        <c:lblAlgn val="ctr"/>
        <c:lblOffset val="100"/>
        <c:noMultiLvlLbl val="0"/>
      </c:catAx>
      <c:valAx>
        <c:axId val="6778585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67779968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900">
              <a:latin typeface="Adobe 고딕 Std B" pitchFamily="34" charset="-127"/>
              <a:ea typeface="Adobe 고딕 Std B" pitchFamily="34" charset="-127"/>
            </a:defRPr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8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CCC8DA1F-F997-482F-8688-043255CFED78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9" y="9428164"/>
            <a:ext cx="2946400" cy="496887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A8BB6211-F097-4F59-BA2F-6B8574E4E27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54174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0CE36CDA-3242-48BB-9189-A7B3C6B43C12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B8C7B761-BB62-435E-AD12-92BA964CB6F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88385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9833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4583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6165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60171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14047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76154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25255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1362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65076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7589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76182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2547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62E9E7-B4FB-45C9-A2DA-5C19D0D379D7}" type="datetimeFigureOut">
              <a:rPr lang="ko-KR" altLang="en-US" smtClean="0"/>
              <a:t>2014-10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476CBB-0336-42EA-956D-7D66D18CCA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6592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5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terms.naver.com/entry.nhn?cid=769&amp;docId=956880&amp;categoryId=1843" TargetMode="External"/><Relationship Id="rId13" Type="http://schemas.openxmlformats.org/officeDocument/2006/relationships/image" Target="../media/image41.png"/><Relationship Id="rId18" Type="http://schemas.openxmlformats.org/officeDocument/2006/relationships/image" Target="../media/image44.png"/><Relationship Id="rId3" Type="http://schemas.openxmlformats.org/officeDocument/2006/relationships/image" Target="../media/image32.png"/><Relationship Id="rId21" Type="http://schemas.openxmlformats.org/officeDocument/2006/relationships/image" Target="../media/image47.png"/><Relationship Id="rId7" Type="http://schemas.openxmlformats.org/officeDocument/2006/relationships/image" Target="../media/image36.png"/><Relationship Id="rId12" Type="http://schemas.openxmlformats.org/officeDocument/2006/relationships/image" Target="../media/image40.png"/><Relationship Id="rId17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6" Type="http://schemas.openxmlformats.org/officeDocument/2006/relationships/hyperlink" Target="http://terms.naver.com/entry.nhn?cid=768&amp;docId=1840360&amp;categoryId=1850" TargetMode="External"/><Relationship Id="rId20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11" Type="http://schemas.openxmlformats.org/officeDocument/2006/relationships/image" Target="../media/image39.png"/><Relationship Id="rId5" Type="http://schemas.openxmlformats.org/officeDocument/2006/relationships/image" Target="../media/image34.png"/><Relationship Id="rId15" Type="http://schemas.openxmlformats.org/officeDocument/2006/relationships/image" Target="../media/image42.png"/><Relationship Id="rId23" Type="http://schemas.openxmlformats.org/officeDocument/2006/relationships/image" Target="../media/image49.png"/><Relationship Id="rId10" Type="http://schemas.openxmlformats.org/officeDocument/2006/relationships/image" Target="../media/image38.png"/><Relationship Id="rId19" Type="http://schemas.openxmlformats.org/officeDocument/2006/relationships/image" Target="../media/image45.png"/><Relationship Id="rId4" Type="http://schemas.openxmlformats.org/officeDocument/2006/relationships/image" Target="../media/image33.png"/><Relationship Id="rId9" Type="http://schemas.openxmlformats.org/officeDocument/2006/relationships/image" Target="../media/image37.png"/><Relationship Id="rId14" Type="http://schemas.openxmlformats.org/officeDocument/2006/relationships/hyperlink" Target="http://terms.naver.com/entry.nhn?cid=767&amp;docId=956621&amp;categoryId=1521" TargetMode="External"/><Relationship Id="rId22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.png"/><Relationship Id="rId7" Type="http://schemas.openxmlformats.org/officeDocument/2006/relationships/image" Target="../media/image5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jpg"/><Relationship Id="rId5" Type="http://schemas.openxmlformats.org/officeDocument/2006/relationships/image" Target="../media/image55.jpg"/><Relationship Id="rId4" Type="http://schemas.openxmlformats.org/officeDocument/2006/relationships/image" Target="../media/image5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43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Oval 45"/>
          <p:cNvSpPr/>
          <p:nvPr/>
        </p:nvSpPr>
        <p:spPr>
          <a:xfrm>
            <a:off x="215304" y="161493"/>
            <a:ext cx="539719" cy="50801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8" name="TextBox 7"/>
          <p:cNvSpPr txBox="1"/>
          <p:nvPr/>
        </p:nvSpPr>
        <p:spPr>
          <a:xfrm>
            <a:off x="346295" y="1827787"/>
            <a:ext cx="727279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4800" dirty="0" err="1" smtClean="0">
                <a:solidFill>
                  <a:srgbClr val="0B538F"/>
                </a:solidFill>
                <a:latin typeface="Adobe 고딕 Std B" pitchFamily="34" charset="-127"/>
                <a:ea typeface="Adobe 고딕 Std B" pitchFamily="34" charset="-127"/>
              </a:rPr>
              <a:t>식품의약품안전처</a:t>
            </a:r>
            <a:r>
              <a:rPr lang="ko-KR" altLang="en-US" sz="4800" dirty="0" smtClean="0">
                <a:solidFill>
                  <a:srgbClr val="0B538F"/>
                </a:solidFill>
                <a:latin typeface="Adobe 고딕 Std B" pitchFamily="34" charset="-127"/>
                <a:ea typeface="Adobe 고딕 Std B" pitchFamily="34" charset="-127"/>
              </a:rPr>
              <a:t> 진단</a:t>
            </a:r>
            <a:endParaRPr lang="en-US" sz="4800" dirty="0">
              <a:solidFill>
                <a:srgbClr val="0B538F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871011" y="2674545"/>
            <a:ext cx="6377576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713936" y="2855741"/>
            <a:ext cx="4488222" cy="877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국민의 삶의 질 향상과</a:t>
            </a:r>
            <a:endParaRPr lang="en-US" altLang="ko-KR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  <a:p>
            <a:pPr algn="r">
              <a:lnSpc>
                <a:spcPct val="150000"/>
              </a:lnSpc>
            </a:pPr>
            <a:r>
              <a:rPr lang="ko-KR" alt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먹거리 안전 책임</a:t>
            </a:r>
            <a:endParaRPr lang="en-US" altLang="ko-KR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7142" y="343248"/>
            <a:ext cx="53788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2014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47835" y="5374034"/>
            <a:ext cx="254058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국회의원    </a:t>
            </a: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이 명 수</a:t>
            </a:r>
            <a:endParaRPr lang="en-US" sz="28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1010" y="254848"/>
            <a:ext cx="1842926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1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보건복지위원회</a:t>
            </a:r>
            <a:endParaRPr lang="en-US" altLang="ko-KR" sz="1100" dirty="0" smtClean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국정감</a:t>
            </a:r>
            <a:r>
              <a:rPr lang="ko-KR" altLang="en-US" sz="11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사</a:t>
            </a:r>
            <a:endParaRPr lang="en-US" sz="11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939033" y="5875444"/>
            <a:ext cx="2449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1400" dirty="0" smtClean="0">
                <a:solidFill>
                  <a:schemeClr val="accent2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충남 아산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, </a:t>
            </a:r>
            <a:r>
              <a:rPr lang="ko-KR" altLang="en-US" sz="1400" dirty="0" err="1" smtClean="0">
                <a:solidFill>
                  <a:schemeClr val="accent2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새누리당</a:t>
            </a:r>
            <a:r>
              <a:rPr lang="en-US" altLang="ko-KR" sz="1400" dirty="0" smtClean="0">
                <a:solidFill>
                  <a:schemeClr val="accent2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)</a:t>
            </a:r>
            <a:endParaRPr lang="en-US" sz="1400" dirty="0">
              <a:solidFill>
                <a:schemeClr val="accent2">
                  <a:lumMod val="75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8622" y="5837827"/>
            <a:ext cx="539951" cy="258727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587" y="1586892"/>
            <a:ext cx="1010694" cy="1110151"/>
          </a:xfrm>
          <a:prstGeom prst="rect">
            <a:avLst/>
          </a:prstGeom>
        </p:spPr>
      </p:pic>
      <p:grpSp>
        <p:nvGrpSpPr>
          <p:cNvPr id="14" name="Group 348"/>
          <p:cNvGrpSpPr/>
          <p:nvPr/>
        </p:nvGrpSpPr>
        <p:grpSpPr>
          <a:xfrm>
            <a:off x="426239" y="6370186"/>
            <a:ext cx="1453620" cy="288575"/>
            <a:chOff x="2077120" y="4859661"/>
            <a:chExt cx="1453620" cy="288575"/>
          </a:xfrm>
        </p:grpSpPr>
        <p:sp>
          <p:nvSpPr>
            <p:cNvPr id="15" name="Freeform 6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>
              <p:custDataLst>
                <p:tags r:id="rId4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ww.mslee.co.kr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793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2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64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그림 6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1116477" y="343949"/>
            <a:ext cx="7335204" cy="448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</a:t>
            </a:r>
            <a:r>
              <a:rPr lang="ko-KR" altLang="en-US" sz="2800" dirty="0" err="1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식의약품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2000" dirty="0" err="1" smtClean="0">
                <a:latin typeface="Adobe 고딕 Std B" pitchFamily="34" charset="-127"/>
                <a:ea typeface="Adobe 고딕 Std B" pitchFamily="34" charset="-127"/>
              </a:rPr>
              <a:t>食醫藥品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)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  </a:t>
            </a: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표시제도」 </a:t>
            </a: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개선</a:t>
            </a:r>
            <a:endParaRPr lang="en-US" sz="28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539950" y="947868"/>
            <a:ext cx="8488258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무수결정포도당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세립당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화방지분당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Lactobacillus…(A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제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문 용어사전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?!)</a:t>
            </a:r>
            <a:endParaRPr lang="ko-KR" altLang="en-US" sz="16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뜻 모를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”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영양성분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깨알 글씨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서로 다른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”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강정보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=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난수표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아스코르빌파르미테이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말토덱스트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글리세린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포함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…(B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제품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난해한 성분과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능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유통기한</a:t>
            </a:r>
            <a:r>
              <a:rPr lang="en-US" altLang="ko-KR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(Sell-by-date)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對 품질유지기한</a:t>
            </a:r>
            <a:r>
              <a:rPr lang="en-US" altLang="ko-KR" sz="1200" dirty="0">
                <a:latin typeface="휴먼명조" panose="02010504000101010101" pitchFamily="2" charset="-127"/>
                <a:ea typeface="휴먼명조" panose="02010504000101010101" pitchFamily="2" charset="-127"/>
              </a:rPr>
              <a:t>(Best-before-date)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비슷한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용어</a:t>
            </a:r>
            <a:r>
              <a:rPr lang="en-US" altLang="ko-KR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요한 차이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발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·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미국은 판매기한과 섭취기한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본은 소비기한과 상미기한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賞味</a:t>
            </a:r>
            <a:r>
              <a:rPr lang="en-US" altLang="ko-KR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Best-before-date</a:t>
            </a:r>
            <a:r>
              <a:rPr lang="en-US" altLang="ko-KR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4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으로 </a:t>
            </a:r>
            <a:r>
              <a:rPr lang="ko-KR" altLang="en-US" sz="1400" dirty="0">
                <a:latin typeface="휴먼명조" panose="02010504000101010101" pitchFamily="2" charset="-127"/>
                <a:ea typeface="휴먼명조" panose="02010504000101010101" pitchFamily="2" charset="-127"/>
              </a:rPr>
              <a:t>표시</a:t>
            </a:r>
          </a:p>
        </p:txBody>
      </p:sp>
      <p:sp>
        <p:nvSpPr>
          <p:cNvPr id="109" name="Isosceles Triangle 1"/>
          <p:cNvSpPr/>
          <p:nvPr/>
        </p:nvSpPr>
        <p:spPr>
          <a:xfrm rot="5400000">
            <a:off x="721248" y="6164102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TextBox 109"/>
          <p:cNvSpPr txBox="1"/>
          <p:nvPr/>
        </p:nvSpPr>
        <p:spPr>
          <a:xfrm>
            <a:off x="929648" y="5986414"/>
            <a:ext cx="77037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업계  편의」</a:t>
            </a:r>
            <a:r>
              <a:rPr lang="ko-KR" altLang="en-US" sz="2200" dirty="0" smtClean="0">
                <a:latin typeface="Adobe 고딕 Std B" pitchFamily="34" charset="-127"/>
                <a:ea typeface="Adobe 고딕 Std B" pitchFamily="34" charset="-127"/>
              </a:rPr>
              <a:t>보다  </a:t>
            </a:r>
            <a:r>
              <a:rPr lang="ko-KR" altLang="en-US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소비자  편의  중심  표시」</a:t>
            </a:r>
            <a:r>
              <a:rPr lang="ko-KR" altLang="en-US" sz="2200" dirty="0" err="1" smtClean="0">
                <a:latin typeface="Adobe 고딕 Std B" pitchFamily="34" charset="-127"/>
                <a:ea typeface="Adobe 고딕 Std B" pitchFamily="34" charset="-127"/>
              </a:rPr>
              <a:t>로</a:t>
            </a:r>
            <a:r>
              <a:rPr lang="ko-KR" altLang="en-US" sz="2200" dirty="0" smtClean="0">
                <a:latin typeface="Adobe 고딕 Std B" pitchFamily="34" charset="-127"/>
                <a:ea typeface="Adobe 고딕 Std B" pitchFamily="34" charset="-127"/>
              </a:rPr>
              <a:t>  개선 촉구 </a:t>
            </a:r>
            <a:endParaRPr lang="en-US" altLang="ko-KR" sz="22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417" y="3180996"/>
            <a:ext cx="2717980" cy="210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7692" y="3068960"/>
            <a:ext cx="5133975" cy="233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498266" y="5442623"/>
            <a:ext cx="29942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[</a:t>
            </a:r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우리나라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식품표시 내용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]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680106" y="5442624"/>
            <a:ext cx="29942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[</a:t>
            </a:r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미국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식품표시 내용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]  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오른쪽 개정내용</a:t>
            </a:r>
            <a:r>
              <a:rPr lang="en-US" altLang="ko-KR" sz="11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1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20" name="오른쪽 화살표 19"/>
          <p:cNvSpPr/>
          <p:nvPr/>
        </p:nvSpPr>
        <p:spPr>
          <a:xfrm>
            <a:off x="6908413" y="110682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926488" y="186662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863378" y="22072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6733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15616" y="480312"/>
            <a:ext cx="7416824" cy="410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5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</a:t>
            </a:r>
            <a:r>
              <a:rPr lang="ko-KR" altLang="en-US" sz="25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소비자 현혹</a:t>
            </a:r>
            <a:r>
              <a:rPr lang="en-US" altLang="ko-KR" sz="25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, </a:t>
            </a:r>
            <a:r>
              <a:rPr lang="en-US" altLang="ko-KR" sz="25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ko-KR" altLang="en-US" sz="25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수입쇠고기 </a:t>
            </a:r>
            <a:r>
              <a:rPr lang="en-US" altLang="ko-KR" sz="25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1</a:t>
            </a:r>
            <a:r>
              <a:rPr lang="en-US" altLang="ko-KR" sz="2500" baseline="30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+</a:t>
            </a:r>
            <a:r>
              <a:rPr lang="en-US" altLang="ko-KR" sz="25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, 1</a:t>
            </a:r>
            <a:r>
              <a:rPr lang="en-US" altLang="ko-KR" sz="2500" baseline="300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++ </a:t>
            </a:r>
            <a:r>
              <a:rPr lang="ko-KR" altLang="en-US" sz="25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등급판매」 </a:t>
            </a:r>
            <a:r>
              <a:rPr lang="ko-KR" altLang="en-US" sz="2500" dirty="0" smtClean="0">
                <a:latin typeface="Adobe 고딕 Std B" pitchFamily="34" charset="-127"/>
                <a:ea typeface="Adobe 고딕 Std B" pitchFamily="34" charset="-127"/>
              </a:rPr>
              <a:t>문제</a:t>
            </a:r>
            <a:endParaRPr lang="en-US" sz="25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Isosceles Triangle 1"/>
          <p:cNvSpPr/>
          <p:nvPr/>
        </p:nvSpPr>
        <p:spPr>
          <a:xfrm rot="5400000">
            <a:off x="173239" y="6208984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77470" y="6088019"/>
            <a:ext cx="90364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    「국내산 등급제」왜곡하는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</a:t>
            </a:r>
            <a:r>
              <a:rPr lang="ko-KR" altLang="en-US" sz="20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수입산 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 쇠고기  등급 </a:t>
            </a:r>
            <a:r>
              <a:rPr lang="ko-KR" altLang="en-US" sz="20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판매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」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단속  및  감독  강화</a:t>
            </a:r>
            <a:endParaRPr lang="ko-KR" altLang="en-US" sz="20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39950" y="1059629"/>
            <a:ext cx="842453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국내산 쇠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기</a:t>
            </a:r>
            <a:r>
              <a:rPr lang="en-US" altLang="ko-KR" sz="12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부위 </a:t>
            </a:r>
            <a:r>
              <a:rPr lang="en-US" altLang="ko-KR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ko-KR" altLang="en-US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안심</a:t>
            </a:r>
            <a:r>
              <a:rPr lang="en-US" altLang="ko-KR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등심</a:t>
            </a:r>
            <a:r>
              <a:rPr lang="en-US" altLang="ko-KR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200" b="1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채끝</a:t>
            </a:r>
            <a:r>
              <a:rPr lang="en-US" altLang="ko-KR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양지</a:t>
            </a:r>
            <a:r>
              <a:rPr lang="en-US" altLang="ko-KR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갈비</a:t>
            </a:r>
            <a:r>
              <a:rPr lang="en-US" altLang="ko-KR" sz="12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급제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3,2,1,1</a:t>
            </a:r>
            <a:r>
              <a:rPr lang="en-US" altLang="ko-KR" sz="1600" b="1" baseline="300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+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1</a:t>
            </a:r>
            <a:r>
              <a:rPr lang="en-US" altLang="ko-KR" sz="1600" b="1" baseline="300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++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급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「수입산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쇠고기」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가별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유 등급판정기준 보유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위별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입 통관만 허용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「수입산 쇠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고기」 부위별로 「국내산 등급표시」 판매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비자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혹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입 쇠고기의 불법적인 「국내산 등급표시」 판매 단속에 소극적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59657" y="3016956"/>
            <a:ext cx="4660415" cy="2444744"/>
            <a:chOff x="559657" y="2856464"/>
            <a:chExt cx="5041421" cy="2675945"/>
          </a:xfrm>
        </p:grpSpPr>
        <p:pic>
          <p:nvPicPr>
            <p:cNvPr id="2055" name="Picture 7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657" y="2856464"/>
              <a:ext cx="5041421" cy="2675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7" name="직선 연결선 16"/>
            <p:cNvCxnSpPr/>
            <p:nvPr/>
          </p:nvCxnSpPr>
          <p:spPr>
            <a:xfrm>
              <a:off x="4499992" y="3995791"/>
              <a:ext cx="792088" cy="0"/>
            </a:xfrm>
            <a:prstGeom prst="line">
              <a:avLst/>
            </a:prstGeom>
            <a:ln w="2222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직사각형 17"/>
            <p:cNvSpPr/>
            <p:nvPr/>
          </p:nvSpPr>
          <p:spPr>
            <a:xfrm>
              <a:off x="3049907" y="3260251"/>
              <a:ext cx="1234061" cy="1687953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5333145" y="2638823"/>
            <a:ext cx="3399666" cy="3231024"/>
            <a:chOff x="5834242" y="2737586"/>
            <a:chExt cx="2929512" cy="2932680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8912" y="2737586"/>
              <a:ext cx="1458178" cy="1488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4242" y="2737586"/>
              <a:ext cx="1444670" cy="1572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4" name="Picture 6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9631" y="4226143"/>
              <a:ext cx="1444123" cy="14441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83994" y="4321624"/>
              <a:ext cx="1330780" cy="133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1" name="직선 연결선 30"/>
            <p:cNvCxnSpPr/>
            <p:nvPr/>
          </p:nvCxnSpPr>
          <p:spPr>
            <a:xfrm>
              <a:off x="6010651" y="4194436"/>
              <a:ext cx="361549" cy="0"/>
            </a:xfrm>
            <a:prstGeom prst="line">
              <a:avLst/>
            </a:prstGeom>
            <a:ln w="2222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직선 연결선 32"/>
            <p:cNvCxnSpPr/>
            <p:nvPr/>
          </p:nvCxnSpPr>
          <p:spPr>
            <a:xfrm>
              <a:off x="8100392" y="4104227"/>
              <a:ext cx="360040" cy="0"/>
            </a:xfrm>
            <a:prstGeom prst="line">
              <a:avLst/>
            </a:prstGeom>
            <a:ln w="2222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직선 연결선 37"/>
            <p:cNvCxnSpPr/>
            <p:nvPr/>
          </p:nvCxnSpPr>
          <p:spPr>
            <a:xfrm>
              <a:off x="6853225" y="5532409"/>
              <a:ext cx="311063" cy="0"/>
            </a:xfrm>
            <a:prstGeom prst="line">
              <a:avLst/>
            </a:prstGeom>
            <a:ln w="2222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직선 연결선 38"/>
            <p:cNvCxnSpPr/>
            <p:nvPr/>
          </p:nvCxnSpPr>
          <p:spPr>
            <a:xfrm>
              <a:off x="8426027" y="5540318"/>
              <a:ext cx="311063" cy="0"/>
            </a:xfrm>
            <a:prstGeom prst="line">
              <a:avLst/>
            </a:prstGeom>
            <a:ln w="2222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오른쪽 화살표 24"/>
          <p:cNvSpPr/>
          <p:nvPr/>
        </p:nvSpPr>
        <p:spPr>
          <a:xfrm>
            <a:off x="5747653" y="123704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5749069" y="158316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오른쪽 화살표 26"/>
          <p:cNvSpPr/>
          <p:nvPr/>
        </p:nvSpPr>
        <p:spPr>
          <a:xfrm>
            <a:off x="6876648" y="195780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94226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15616" y="507290"/>
            <a:ext cx="741682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수입과자</a:t>
            </a:r>
            <a:r>
              <a:rPr lang="en-US" altLang="ko-KR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발암물질 타르색소</a:t>
            </a:r>
            <a:r>
              <a:rPr lang="en-US" altLang="ko-KR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인공첨가물</a:t>
            </a:r>
            <a:r>
              <a:rPr lang="en-US" altLang="ko-KR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) </a:t>
            </a: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포함」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문제</a:t>
            </a:r>
            <a:endParaRPr lang="en-US" sz="24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Isosceles Triangle 1"/>
          <p:cNvSpPr/>
          <p:nvPr/>
        </p:nvSpPr>
        <p:spPr>
          <a:xfrm rot="5400000">
            <a:off x="715404" y="6103781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114566" y="5961485"/>
            <a:ext cx="74041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수입과자의  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안전성 관리 기준 마련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과  대국민  홍보  강화  필요</a:t>
            </a:r>
            <a:endParaRPr lang="ko-KR" altLang="en-US" sz="20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39950" y="1059629"/>
            <a:ext cx="81115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입 초콜릿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크래커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쿠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    어린이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해물질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타르색소 등 포함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%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상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적색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0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호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황색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호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황색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호 →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발암물질 타르색소」 대표사례</a:t>
            </a:r>
            <a:endParaRPr lang="en-US" altLang="ko-KR" sz="1400" b="1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어린이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호식품에 「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CODEX –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규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EU –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금지」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 주요 업체 천연색소 사용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입과자 안전성 규제 및 타르색소에 대한 대처 소극적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국민 홍보도 부실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76230" y="2948863"/>
            <a:ext cx="6384574" cy="264262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모서리가 둥근 직사각형 15"/>
          <p:cNvSpPr/>
          <p:nvPr/>
        </p:nvSpPr>
        <p:spPr>
          <a:xfrm>
            <a:off x="625661" y="2807098"/>
            <a:ext cx="2074132" cy="27591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539950" y="2807098"/>
            <a:ext cx="2083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식용타르색소 정의</a:t>
            </a:r>
            <a:endParaRPr lang="ko-KR" altLang="en-US" sz="16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61796" y="3176988"/>
            <a:ext cx="6304825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 smtClean="0"/>
              <a:t>우리나라 식품첨가물공전 중 화학적 </a:t>
            </a:r>
            <a:r>
              <a:rPr lang="ko-KR" altLang="en-US" sz="1400" dirty="0" err="1" smtClean="0"/>
              <a:t>합성품으로서</a:t>
            </a:r>
            <a:r>
              <a:rPr lang="ko-KR" altLang="en-US" sz="1400" dirty="0" smtClean="0"/>
              <a:t> </a:t>
            </a:r>
            <a:r>
              <a:rPr lang="ko-KR" altLang="en-US" sz="1400" b="1" dirty="0" smtClean="0">
                <a:solidFill>
                  <a:srgbClr val="C00000"/>
                </a:solidFill>
              </a:rPr>
              <a:t>석탄타르</a:t>
            </a:r>
            <a:r>
              <a:rPr lang="en-US" altLang="ko-KR" sz="1400" b="1" dirty="0" smtClean="0">
                <a:solidFill>
                  <a:srgbClr val="C00000"/>
                </a:solidFill>
              </a:rPr>
              <a:t>(coal tar)</a:t>
            </a:r>
            <a:r>
              <a:rPr lang="ko-KR" altLang="en-US" sz="1400" dirty="0" smtClean="0"/>
              <a:t>에서 </a:t>
            </a:r>
            <a:endParaRPr lang="en-US" altLang="ko-KR" sz="1400" dirty="0" smtClean="0"/>
          </a:p>
          <a:p>
            <a:pPr>
              <a:lnSpc>
                <a:spcPct val="150000"/>
              </a:lnSpc>
            </a:pPr>
            <a:r>
              <a:rPr lang="ko-KR" altLang="en-US" sz="1400" dirty="0" smtClean="0"/>
              <a:t>얻은 방향족</a:t>
            </a:r>
            <a:r>
              <a:rPr lang="en-US" altLang="ko-KR" sz="1400" dirty="0"/>
              <a:t> </a:t>
            </a:r>
            <a:r>
              <a:rPr lang="ko-KR" altLang="en-US" sz="1400" dirty="0" smtClean="0"/>
              <a:t>탄화수소를 원료로 합성하여 제조되는 대표적인 </a:t>
            </a:r>
            <a:r>
              <a:rPr lang="ko-KR" altLang="en-US" sz="1400" dirty="0" err="1" smtClean="0"/>
              <a:t>착색료로</a:t>
            </a:r>
            <a:r>
              <a:rPr lang="ko-KR" altLang="en-US" sz="1400" dirty="0" smtClean="0"/>
              <a:t> </a:t>
            </a:r>
            <a:endParaRPr lang="en-US" altLang="ko-KR" sz="1400" dirty="0" smtClean="0"/>
          </a:p>
          <a:p>
            <a:pPr>
              <a:lnSpc>
                <a:spcPct val="150000"/>
              </a:lnSpc>
            </a:pPr>
            <a:r>
              <a:rPr lang="ko-KR" altLang="en-US" sz="1400" dirty="0" smtClean="0"/>
              <a:t>독성이 강한 것들이 많음</a:t>
            </a:r>
            <a:endParaRPr lang="en-US" altLang="ko-KR" sz="1400" dirty="0" smtClean="0"/>
          </a:p>
          <a:p>
            <a:pPr>
              <a:lnSpc>
                <a:spcPct val="150000"/>
              </a:lnSpc>
            </a:pPr>
            <a:endParaRPr lang="en-US" altLang="ko-KR" sz="1400" dirty="0"/>
          </a:p>
          <a:p>
            <a:pPr>
              <a:lnSpc>
                <a:spcPct val="150000"/>
              </a:lnSpc>
            </a:pPr>
            <a:r>
              <a:rPr lang="en-US" altLang="ko-KR" sz="1400" b="1" dirty="0" smtClean="0"/>
              <a:t>『</a:t>
            </a:r>
            <a:r>
              <a:rPr lang="ko-KR" altLang="en-US" sz="1400" b="1" dirty="0" smtClean="0"/>
              <a:t>타르색소</a:t>
            </a:r>
            <a:r>
              <a:rPr lang="en-US" altLang="ko-KR" sz="1400" b="1" dirty="0" smtClean="0"/>
              <a:t>』</a:t>
            </a:r>
            <a:r>
              <a:rPr lang="ko-KR" altLang="en-US" sz="1400" dirty="0" smtClean="0"/>
              <a:t>는 어린이가 장기적으로 섭취할 경우 </a:t>
            </a:r>
            <a:r>
              <a:rPr lang="ko-KR" altLang="en-US" sz="1400" b="1" dirty="0" smtClean="0">
                <a:solidFill>
                  <a:srgbClr val="C00000"/>
                </a:solidFill>
              </a:rPr>
              <a:t>「천식」</a:t>
            </a:r>
            <a:r>
              <a:rPr lang="ko-KR" altLang="en-US" sz="1400" dirty="0" smtClean="0"/>
              <a:t>이나 </a:t>
            </a:r>
            <a:r>
              <a:rPr lang="ko-KR" altLang="en-US" sz="1400" b="1" dirty="0" smtClean="0">
                <a:solidFill>
                  <a:srgbClr val="C00000"/>
                </a:solidFill>
              </a:rPr>
              <a:t>「알레르기」</a:t>
            </a:r>
            <a:r>
              <a:rPr lang="ko-KR" altLang="en-US" sz="1400" dirty="0" smtClean="0"/>
              <a:t>를 일으키고</a:t>
            </a:r>
            <a:r>
              <a:rPr lang="en-US" altLang="ko-KR" sz="1400" dirty="0" smtClean="0"/>
              <a:t>, </a:t>
            </a:r>
            <a:r>
              <a:rPr lang="ko-KR" altLang="en-US" sz="1400" b="1" dirty="0" smtClean="0">
                <a:solidFill>
                  <a:srgbClr val="C00000"/>
                </a:solidFill>
              </a:rPr>
              <a:t>「주의력결핍」</a:t>
            </a:r>
            <a:r>
              <a:rPr lang="en-US" altLang="ko-KR" sz="1400" dirty="0" smtClean="0"/>
              <a:t>, </a:t>
            </a:r>
            <a:r>
              <a:rPr lang="ko-KR" altLang="en-US" sz="1400" b="1" dirty="0" smtClean="0">
                <a:solidFill>
                  <a:srgbClr val="C00000"/>
                </a:solidFill>
              </a:rPr>
              <a:t>「과잉행동장애</a:t>
            </a:r>
            <a:r>
              <a:rPr lang="en-US" altLang="ko-KR" sz="1400" b="1" dirty="0" smtClean="0">
                <a:solidFill>
                  <a:srgbClr val="C00000"/>
                </a:solidFill>
              </a:rPr>
              <a:t>(ADHD)</a:t>
            </a:r>
            <a:r>
              <a:rPr lang="ko-KR" altLang="en-US" sz="1400" b="1" dirty="0" smtClean="0">
                <a:solidFill>
                  <a:srgbClr val="C00000"/>
                </a:solidFill>
              </a:rPr>
              <a:t>」</a:t>
            </a:r>
            <a:r>
              <a:rPr lang="en-US" altLang="ko-KR" sz="1400" b="1" dirty="0" smtClean="0">
                <a:solidFill>
                  <a:srgbClr val="C00000"/>
                </a:solidFill>
              </a:rPr>
              <a:t> </a:t>
            </a:r>
            <a:r>
              <a:rPr lang="ko-KR" altLang="en-US" sz="1400" dirty="0" smtClean="0"/>
              <a:t>등을 유발한다는 이유로 유럽연합</a:t>
            </a:r>
            <a:r>
              <a:rPr lang="en-US" altLang="ko-KR" sz="1400" dirty="0" smtClean="0"/>
              <a:t>(EU)</a:t>
            </a:r>
            <a:r>
              <a:rPr lang="ko-KR" altLang="en-US" sz="1400" dirty="0" smtClean="0"/>
              <a:t>에서는</a:t>
            </a:r>
            <a:r>
              <a:rPr lang="en-US" altLang="ko-KR" sz="1400" dirty="0"/>
              <a:t> </a:t>
            </a:r>
            <a:r>
              <a:rPr lang="ko-KR" altLang="en-US" sz="1400" dirty="0" smtClean="0"/>
              <a:t>「어린이 식품」에 사용을 금지하고 있음</a:t>
            </a:r>
            <a:endParaRPr lang="en-US" altLang="ko-KR" sz="1400" dirty="0" smtClean="0"/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3043418"/>
            <a:ext cx="1691680" cy="1268760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2287" y="4312178"/>
            <a:ext cx="1244656" cy="1244656"/>
          </a:xfrm>
          <a:prstGeom prst="rect">
            <a:avLst/>
          </a:prstGeom>
        </p:spPr>
      </p:pic>
      <p:sp>
        <p:nvSpPr>
          <p:cNvPr id="18" name="오른쪽 화살표 17"/>
          <p:cNvSpPr/>
          <p:nvPr/>
        </p:nvSpPr>
        <p:spPr>
          <a:xfrm>
            <a:off x="3598184" y="12452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966621" y="12452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5292080" y="19168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6406277" y="22768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22392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847" y="1192585"/>
            <a:ext cx="2041901" cy="981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6558" y="1128006"/>
            <a:ext cx="1184907" cy="15121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09" y="3505558"/>
            <a:ext cx="2271731" cy="15854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23" y="5344360"/>
            <a:ext cx="748225" cy="1080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그림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98" y="2276872"/>
            <a:ext cx="1795772" cy="1228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2" name="Picture 4" descr="fla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118" y="923964"/>
            <a:ext cx="347638" cy="260728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442899" y="883728"/>
            <a:ext cx="732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미국</a:t>
            </a:r>
            <a:endParaRPr lang="ko-KR" altLang="en-US" sz="16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341" y="1235029"/>
            <a:ext cx="1262201" cy="2243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932" y="2494514"/>
            <a:ext cx="1262201" cy="2243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6558" y="4597539"/>
            <a:ext cx="1262201" cy="2243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그림 2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341" y="3429000"/>
            <a:ext cx="1262201" cy="2243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4" name="Picture 6" descr="fla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454" y="923964"/>
            <a:ext cx="351165" cy="26337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4603679" y="886374"/>
            <a:ext cx="732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일본</a:t>
            </a:r>
            <a:endParaRPr lang="ko-KR" altLang="en-US" sz="16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56" name="Picture 8" descr="flag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290" y="921318"/>
            <a:ext cx="351165" cy="26337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7086695" y="883728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스페인</a:t>
            </a:r>
            <a:endParaRPr lang="ko-KR" altLang="en-US" sz="16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241" y="1403360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7575" y="1428104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171" y="3019550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102" y="2999464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48" name="그림 204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78" y="4774906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49" name="그림 204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0931" y="4751931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51" name="모서리가 둥근 직사각형 2050"/>
          <p:cNvSpPr/>
          <p:nvPr/>
        </p:nvSpPr>
        <p:spPr>
          <a:xfrm>
            <a:off x="1443532" y="1683085"/>
            <a:ext cx="1544292" cy="611209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55" name="TextBox 2054"/>
          <p:cNvSpPr txBox="1"/>
          <p:nvPr/>
        </p:nvSpPr>
        <p:spPr>
          <a:xfrm>
            <a:off x="1442899" y="1711122"/>
            <a:ext cx="157071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5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</a:p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</a:p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2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err="1" smtClean="0"/>
              <a:t>이산화티타늄</a:t>
            </a:r>
            <a:endParaRPr lang="ko-KR" altLang="en-US" sz="1050" dirty="0"/>
          </a:p>
        </p:txBody>
      </p:sp>
      <p:sp>
        <p:nvSpPr>
          <p:cNvPr id="2" name="모서리가 둥근 직사각형 1"/>
          <p:cNvSpPr/>
          <p:nvPr/>
        </p:nvSpPr>
        <p:spPr>
          <a:xfrm>
            <a:off x="611560" y="188640"/>
            <a:ext cx="7848872" cy="47698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/>
        </p:nvSpPr>
        <p:spPr>
          <a:xfrm>
            <a:off x="695307" y="282470"/>
            <a:ext cx="7765125" cy="346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수입과자</a:t>
            </a:r>
            <a:r>
              <a:rPr lang="en-US" altLang="ko-KR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발암물질 타르색소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인공첨가물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)  </a:t>
            </a:r>
            <a:r>
              <a:rPr lang="ko-KR" alt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등  첨가물  현황</a:t>
            </a:r>
            <a:endParaRPr lang="en-US" sz="20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1869499" y="3107705"/>
            <a:ext cx="772146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TextBox 32"/>
          <p:cNvSpPr txBox="1"/>
          <p:nvPr/>
        </p:nvSpPr>
        <p:spPr>
          <a:xfrm>
            <a:off x="1868866" y="3135741"/>
            <a:ext cx="7479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smtClean="0"/>
              <a:t>황색</a:t>
            </a:r>
            <a:r>
              <a:rPr lang="en-US" altLang="ko-KR" sz="1050" dirty="0" smtClean="0"/>
              <a:t>5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34" name="모서리가 둥근 직사각형 33"/>
          <p:cNvSpPr/>
          <p:nvPr/>
        </p:nvSpPr>
        <p:spPr>
          <a:xfrm>
            <a:off x="452628" y="4723895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TextBox 35"/>
          <p:cNvSpPr txBox="1"/>
          <p:nvPr/>
        </p:nvSpPr>
        <p:spPr>
          <a:xfrm>
            <a:off x="451996" y="4751931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err="1" smtClean="0"/>
              <a:t>카르민색소</a:t>
            </a:r>
            <a:endParaRPr lang="ko-KR" altLang="en-US" sz="1050" dirty="0"/>
          </a:p>
        </p:txBody>
      </p:sp>
      <p:sp>
        <p:nvSpPr>
          <p:cNvPr id="38" name="모서리가 둥근 직사각형 37"/>
          <p:cNvSpPr/>
          <p:nvPr/>
        </p:nvSpPr>
        <p:spPr>
          <a:xfrm>
            <a:off x="1289306" y="5547121"/>
            <a:ext cx="1627907" cy="706137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TextBox 38"/>
          <p:cNvSpPr txBox="1"/>
          <p:nvPr/>
        </p:nvSpPr>
        <p:spPr>
          <a:xfrm>
            <a:off x="1277608" y="5611648"/>
            <a:ext cx="165432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2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err="1" smtClean="0"/>
              <a:t>이산화티타늄</a:t>
            </a:r>
            <a:endParaRPr lang="en-US" altLang="ko-KR" sz="1050" dirty="0" smtClean="0"/>
          </a:p>
        </p:txBody>
      </p:sp>
      <p:sp>
        <p:nvSpPr>
          <p:cNvPr id="40" name="모서리가 둥근 직사각형 39"/>
          <p:cNvSpPr/>
          <p:nvPr/>
        </p:nvSpPr>
        <p:spPr>
          <a:xfrm>
            <a:off x="3292169" y="2358222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TextBox 40"/>
          <p:cNvSpPr txBox="1"/>
          <p:nvPr/>
        </p:nvSpPr>
        <p:spPr>
          <a:xfrm>
            <a:off x="3291537" y="2386258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42" name="모서리가 둥근 직사각형 41"/>
          <p:cNvSpPr/>
          <p:nvPr/>
        </p:nvSpPr>
        <p:spPr>
          <a:xfrm>
            <a:off x="4628042" y="3110426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TextBox 42"/>
          <p:cNvSpPr txBox="1"/>
          <p:nvPr/>
        </p:nvSpPr>
        <p:spPr>
          <a:xfrm>
            <a:off x="4627410" y="3138462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44" name="모서리가 둥근 직사각형 43"/>
          <p:cNvSpPr/>
          <p:nvPr/>
        </p:nvSpPr>
        <p:spPr>
          <a:xfrm>
            <a:off x="3292803" y="4398155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TextBox 44"/>
          <p:cNvSpPr txBox="1"/>
          <p:nvPr/>
        </p:nvSpPr>
        <p:spPr>
          <a:xfrm>
            <a:off x="3292171" y="4426191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46" name="모서리가 둥근 직사각형 45"/>
          <p:cNvSpPr/>
          <p:nvPr/>
        </p:nvSpPr>
        <p:spPr>
          <a:xfrm>
            <a:off x="4644322" y="5295094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TextBox 46"/>
          <p:cNvSpPr txBox="1"/>
          <p:nvPr/>
        </p:nvSpPr>
        <p:spPr>
          <a:xfrm>
            <a:off x="4643690" y="5323130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48" name="모서리가 둥근 직사각형 47"/>
          <p:cNvSpPr/>
          <p:nvPr/>
        </p:nvSpPr>
        <p:spPr>
          <a:xfrm>
            <a:off x="3349538" y="6225335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TextBox 48"/>
          <p:cNvSpPr txBox="1"/>
          <p:nvPr/>
        </p:nvSpPr>
        <p:spPr>
          <a:xfrm>
            <a:off x="3348906" y="6253371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50" name="모서리가 둥근 직사각형 49"/>
          <p:cNvSpPr/>
          <p:nvPr/>
        </p:nvSpPr>
        <p:spPr>
          <a:xfrm>
            <a:off x="6461562" y="2722203"/>
            <a:ext cx="887455" cy="44353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TextBox 50"/>
          <p:cNvSpPr txBox="1"/>
          <p:nvPr/>
        </p:nvSpPr>
        <p:spPr>
          <a:xfrm>
            <a:off x="6460931" y="2750239"/>
            <a:ext cx="88808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카르민색</a:t>
            </a:r>
            <a:r>
              <a:rPr lang="ko-KR" altLang="en-US" sz="1050" dirty="0" err="1"/>
              <a:t>소</a:t>
            </a:r>
            <a:endParaRPr lang="ko-KR" altLang="en-US" sz="1050" dirty="0"/>
          </a:p>
        </p:txBody>
      </p:sp>
      <p:sp>
        <p:nvSpPr>
          <p:cNvPr id="52" name="모서리가 둥근 직사각형 51"/>
          <p:cNvSpPr/>
          <p:nvPr/>
        </p:nvSpPr>
        <p:spPr>
          <a:xfrm>
            <a:off x="7538207" y="2555930"/>
            <a:ext cx="1158254" cy="621026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TextBox 52"/>
          <p:cNvSpPr txBox="1"/>
          <p:nvPr/>
        </p:nvSpPr>
        <p:spPr>
          <a:xfrm>
            <a:off x="7543743" y="2561381"/>
            <a:ext cx="114718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en-US" altLang="ko-KR" sz="1050" dirty="0" smtClean="0"/>
          </a:p>
          <a:p>
            <a:pPr algn="ctr"/>
            <a:r>
              <a:rPr lang="ko-KR" altLang="en-US" sz="1050" dirty="0" err="1" smtClean="0"/>
              <a:t>카르민색소</a:t>
            </a:r>
            <a:endParaRPr lang="en-US" altLang="ko-KR" sz="1050" dirty="0" smtClean="0"/>
          </a:p>
          <a:p>
            <a:pPr algn="ctr"/>
            <a:r>
              <a:rPr lang="ko-KR" altLang="en-US" sz="1050" dirty="0" err="1" smtClean="0"/>
              <a:t>이산화티타</a:t>
            </a:r>
            <a:r>
              <a:rPr lang="ko-KR" altLang="en-US" sz="1050" dirty="0" err="1"/>
              <a:t>늄</a:t>
            </a:r>
            <a:endParaRPr lang="ko-KR" altLang="en-US" sz="1050" dirty="0"/>
          </a:p>
        </p:txBody>
      </p:sp>
      <p:sp>
        <p:nvSpPr>
          <p:cNvPr id="54" name="모서리가 둥근 직사각형 53"/>
          <p:cNvSpPr/>
          <p:nvPr/>
        </p:nvSpPr>
        <p:spPr>
          <a:xfrm>
            <a:off x="6385489" y="4329391"/>
            <a:ext cx="1158254" cy="621026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TextBox 54"/>
          <p:cNvSpPr txBox="1"/>
          <p:nvPr/>
        </p:nvSpPr>
        <p:spPr>
          <a:xfrm>
            <a:off x="6391025" y="4334842"/>
            <a:ext cx="114718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카르민색소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이산화티타</a:t>
            </a:r>
            <a:r>
              <a:rPr lang="ko-KR" altLang="en-US" sz="1050" dirty="0" err="1"/>
              <a:t>늄</a:t>
            </a:r>
            <a:endParaRPr lang="ko-KR" altLang="en-US" sz="1050" dirty="0"/>
          </a:p>
        </p:txBody>
      </p:sp>
      <p:sp>
        <p:nvSpPr>
          <p:cNvPr id="56" name="모서리가 둥근 직사각형 55"/>
          <p:cNvSpPr/>
          <p:nvPr/>
        </p:nvSpPr>
        <p:spPr>
          <a:xfrm>
            <a:off x="7645607" y="4329391"/>
            <a:ext cx="892862" cy="621026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TextBox 56"/>
          <p:cNvSpPr txBox="1"/>
          <p:nvPr/>
        </p:nvSpPr>
        <p:spPr>
          <a:xfrm>
            <a:off x="7651144" y="4334842"/>
            <a:ext cx="88732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2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58" name="모서리가 둥근 직사각형 57"/>
          <p:cNvSpPr/>
          <p:nvPr/>
        </p:nvSpPr>
        <p:spPr>
          <a:xfrm>
            <a:off x="6492865" y="6087405"/>
            <a:ext cx="887455" cy="44353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9" name="TextBox 58"/>
          <p:cNvSpPr txBox="1"/>
          <p:nvPr/>
        </p:nvSpPr>
        <p:spPr>
          <a:xfrm>
            <a:off x="6492234" y="6115441"/>
            <a:ext cx="88808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카르민색</a:t>
            </a:r>
            <a:r>
              <a:rPr lang="ko-KR" altLang="en-US" sz="1050" dirty="0" err="1"/>
              <a:t>소</a:t>
            </a:r>
            <a:endParaRPr lang="ko-KR" altLang="en-US" sz="1050" dirty="0"/>
          </a:p>
        </p:txBody>
      </p:sp>
      <p:sp>
        <p:nvSpPr>
          <p:cNvPr id="60" name="모서리가 둥근 직사각형 59"/>
          <p:cNvSpPr/>
          <p:nvPr/>
        </p:nvSpPr>
        <p:spPr>
          <a:xfrm>
            <a:off x="7630102" y="6088184"/>
            <a:ext cx="1066359" cy="44353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TextBox 60"/>
          <p:cNvSpPr txBox="1"/>
          <p:nvPr/>
        </p:nvSpPr>
        <p:spPr>
          <a:xfrm>
            <a:off x="7655863" y="6101423"/>
            <a:ext cx="103551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이산화티타늄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2490180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15616" y="507290"/>
            <a:ext cx="741682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수입화장품  독성검사  등  시험검사  안전성」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제고</a:t>
            </a:r>
            <a:endParaRPr lang="en-US" sz="24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Isosceles Triangle 1"/>
          <p:cNvSpPr/>
          <p:nvPr/>
        </p:nvSpPr>
        <p:spPr>
          <a:xfrm rot="5400000">
            <a:off x="500994" y="6193209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923358" y="6049817"/>
            <a:ext cx="81115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국내 유통  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수입화장품 「정기독성검사」 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등 자체 관리 감독 개</a:t>
            </a:r>
            <a:r>
              <a:rPr lang="ko-KR" altLang="en-US" sz="2000" dirty="0">
                <a:latin typeface="Adobe 고딕 Std B" pitchFamily="34" charset="-127"/>
                <a:ea typeface="Adobe 고딕 Std B" pitchFamily="34" charset="-127"/>
              </a:rPr>
              <a:t>선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 필요</a:t>
            </a:r>
            <a:endParaRPr lang="ko-KR" altLang="en-US" sz="20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39950" y="1059629"/>
            <a:ext cx="81115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입화장품 독성검사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험검사 후 유통 규정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조 판매업자에 위임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통 수입화장품에 대한 수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검사 실시 규정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체 실태 파악 全無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문제① 제조판매업자 사전 부실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허위 시험검사자료 제출시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처벌 경미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벌금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백만원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↓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문제②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약처가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수거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검사 권한을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자체에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전적으로 위임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탁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간접관리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방치상태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75" y="3030218"/>
            <a:ext cx="4900832" cy="24482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0861" y="3423524"/>
            <a:ext cx="4729521" cy="13681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310" y="5145501"/>
            <a:ext cx="6723101" cy="2720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660" y="4137387"/>
            <a:ext cx="5992813" cy="2339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오른쪽 화살표 15"/>
          <p:cNvSpPr/>
          <p:nvPr/>
        </p:nvSpPr>
        <p:spPr>
          <a:xfrm>
            <a:off x="4800397" y="12400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6143769" y="16160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035757" y="197422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6569056" y="234644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8535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15616" y="432186"/>
            <a:ext cx="7416824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어린이  급식  지원센터」 </a:t>
            </a: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확대</a:t>
            </a:r>
            <a:r>
              <a:rPr lang="en-US" altLang="ko-KR" sz="2800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강화</a:t>
            </a:r>
            <a:endParaRPr lang="en-US" sz="28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Isosceles Triangle 1"/>
          <p:cNvSpPr/>
          <p:nvPr/>
        </p:nvSpPr>
        <p:spPr>
          <a:xfrm rot="5400000">
            <a:off x="573199" y="6201850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982994" y="6049817"/>
            <a:ext cx="804113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Adobe 고딕 Std B" pitchFamily="34" charset="-127"/>
                <a:ea typeface="Adobe 고딕 Std B" pitchFamily="34" charset="-127"/>
              </a:rPr>
              <a:t>어린이  급식  중요성  감안</a:t>
            </a:r>
            <a:r>
              <a:rPr lang="en-US" altLang="ko-KR" sz="2200" dirty="0" smtClean="0"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현장 중심  정례 점검  </a:t>
            </a:r>
            <a:r>
              <a:rPr lang="ko-KR" altLang="en-US" sz="2200" dirty="0" smtClean="0">
                <a:latin typeface="Adobe 고딕 Std B" pitchFamily="34" charset="-127"/>
                <a:ea typeface="Adobe 고딕 Std B" pitchFamily="34" charset="-127"/>
              </a:rPr>
              <a:t>등  업무강화</a:t>
            </a:r>
            <a:endParaRPr lang="ko-KR" altLang="en-US" sz="22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39950" y="1059629"/>
            <a:ext cx="8111536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어린이 급식 지원센터 설치사업 대체로 부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* 2013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의 경우 전국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78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소 목표 중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66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개소 설치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자체와의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행정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재정 업무협조 강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설치 계획대로 추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20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지원센터 관리 체계가 미비하고 미흡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-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센터 수의 증가에 따라 센터 간 업무중복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비효율적 요인 발생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센터별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추진업무의 표준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체계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합화 및 예산 절감 촉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*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중앙급식관리지원센터 설립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5.1)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에 따른 교육자료개발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표준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레시피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위생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영양정보 등 제공</a:t>
            </a:r>
            <a:endParaRPr lang="en-US" altLang="ko-KR" sz="1400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1" name="오른쪽 화살표 20"/>
          <p:cNvSpPr/>
          <p:nvPr/>
        </p:nvSpPr>
        <p:spPr>
          <a:xfrm>
            <a:off x="669790" y="192372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675538" y="31507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545" y="4324192"/>
            <a:ext cx="2211592" cy="1098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856" y="3863296"/>
            <a:ext cx="1403279" cy="939932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622" y="5234877"/>
            <a:ext cx="1694525" cy="774451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939" y="3885631"/>
            <a:ext cx="3519155" cy="1312327"/>
          </a:xfrm>
          <a:prstGeom prst="rect">
            <a:avLst/>
          </a:prstGeom>
        </p:spPr>
      </p:pic>
      <p:cxnSp>
        <p:nvCxnSpPr>
          <p:cNvPr id="24" name="직선 화살표 연결선 23"/>
          <p:cNvCxnSpPr>
            <a:stCxn id="2051" idx="3"/>
          </p:cNvCxnSpPr>
          <p:nvPr/>
        </p:nvCxnSpPr>
        <p:spPr>
          <a:xfrm flipV="1">
            <a:off x="2653137" y="4607436"/>
            <a:ext cx="345719" cy="265993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화살표 연결선 28"/>
          <p:cNvCxnSpPr/>
          <p:nvPr/>
        </p:nvCxnSpPr>
        <p:spPr>
          <a:xfrm>
            <a:off x="2625089" y="5441803"/>
            <a:ext cx="345719" cy="317761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3491880" y="3836879"/>
            <a:ext cx="1397629" cy="487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운영매뉴얼</a:t>
            </a:r>
            <a:r>
              <a:rPr lang="en-US" altLang="ko-KR" sz="900" dirty="0" smtClean="0">
                <a:latin typeface="Adobe 고딕 Std B" pitchFamily="34" charset="-127"/>
                <a:ea typeface="Adobe 고딕 Std B" pitchFamily="34" charset="-127"/>
              </a:rPr>
              <a:t>, </a:t>
            </a: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지침 등 기술지도</a:t>
            </a:r>
            <a:r>
              <a:rPr lang="en-US" altLang="ko-KR" sz="900" dirty="0" smtClean="0">
                <a:latin typeface="Adobe 고딕 Std B" pitchFamily="34" charset="-127"/>
                <a:ea typeface="Adobe 고딕 Std B" pitchFamily="34" charset="-127"/>
              </a:rPr>
              <a:t>, </a:t>
            </a: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감독</a:t>
            </a:r>
            <a:r>
              <a:rPr lang="en-US" altLang="ko-KR" sz="900" dirty="0" smtClean="0">
                <a:latin typeface="Adobe 고딕 Std B" pitchFamily="34" charset="-127"/>
                <a:ea typeface="Adobe 고딕 Std B" pitchFamily="34" charset="-127"/>
              </a:rPr>
              <a:t>, </a:t>
            </a: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평가</a:t>
            </a:r>
            <a:endParaRPr lang="ko-KR" altLang="en-US" sz="9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035636" y="5481702"/>
            <a:ext cx="76231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예산지</a:t>
            </a:r>
            <a:r>
              <a:rPr lang="ko-KR" altLang="en-US" sz="900" dirty="0">
                <a:latin typeface="Adobe 고딕 Std B" pitchFamily="34" charset="-127"/>
                <a:ea typeface="Adobe 고딕 Std B" pitchFamily="34" charset="-127"/>
              </a:rPr>
              <a:t>원</a:t>
            </a:r>
          </a:p>
        </p:txBody>
      </p:sp>
      <p:cxnSp>
        <p:nvCxnSpPr>
          <p:cNvPr id="33" name="직선 화살표 연결선 32"/>
          <p:cNvCxnSpPr/>
          <p:nvPr/>
        </p:nvCxnSpPr>
        <p:spPr>
          <a:xfrm>
            <a:off x="3700495" y="4824245"/>
            <a:ext cx="0" cy="657457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3782763" y="4873429"/>
            <a:ext cx="762312" cy="487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900" dirty="0" smtClean="0"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법인 또는</a:t>
            </a:r>
            <a:endParaRPr lang="en-US" altLang="ko-KR" sz="900" dirty="0" smtClean="0">
              <a:latin typeface="Adobe 고딕 Std B" pitchFamily="34" charset="-127"/>
              <a:ea typeface="Adobe 고딕 Std B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위탁운영</a:t>
            </a:r>
            <a:r>
              <a:rPr lang="en-US" altLang="ko-KR" sz="900" dirty="0" smtClean="0">
                <a:latin typeface="Adobe 고딕 Std B" pitchFamily="34" charset="-127"/>
                <a:ea typeface="Adobe 고딕 Std B" pitchFamily="34" charset="-127"/>
              </a:rPr>
              <a:t>)</a:t>
            </a:r>
            <a:endParaRPr lang="ko-KR" altLang="en-US" sz="900" dirty="0">
              <a:latin typeface="Adobe 고딕 Std B" pitchFamily="34" charset="-127"/>
              <a:ea typeface="Adobe 고딕 Std B" pitchFamily="34" charset="-127"/>
            </a:endParaRPr>
          </a:p>
        </p:txBody>
      </p:sp>
      <p:cxnSp>
        <p:nvCxnSpPr>
          <p:cNvPr id="36" name="직선 화살표 연결선 35"/>
          <p:cNvCxnSpPr/>
          <p:nvPr/>
        </p:nvCxnSpPr>
        <p:spPr>
          <a:xfrm flipV="1">
            <a:off x="6732240" y="5253912"/>
            <a:ext cx="0" cy="578502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/>
          <p:cNvCxnSpPr/>
          <p:nvPr/>
        </p:nvCxnSpPr>
        <p:spPr>
          <a:xfrm flipH="1">
            <a:off x="4889509" y="5152973"/>
            <a:ext cx="674452" cy="265461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화살표 연결선 43"/>
          <p:cNvCxnSpPr/>
          <p:nvPr/>
        </p:nvCxnSpPr>
        <p:spPr>
          <a:xfrm flipV="1">
            <a:off x="5003559" y="5293890"/>
            <a:ext cx="648262" cy="244217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4889509" y="4948868"/>
            <a:ext cx="762312" cy="279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9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등록신청</a:t>
            </a:r>
            <a:endParaRPr lang="ko-KR" altLang="en-US" sz="9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256553" y="5321119"/>
            <a:ext cx="762312" cy="279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900" smtClean="0">
                <a:latin typeface="Adobe 고딕 Std B" pitchFamily="34" charset="-127"/>
                <a:ea typeface="Adobe 고딕 Std B" pitchFamily="34" charset="-127"/>
              </a:rPr>
              <a:t>심사신청</a:t>
            </a:r>
            <a:endParaRPr lang="ko-KR" altLang="en-US" sz="900" dirty="0">
              <a:latin typeface="Adobe 고딕 Std B" pitchFamily="34" charset="-127"/>
              <a:ea typeface="Adobe 고딕 Std B" pitchFamily="34" charset="-127"/>
            </a:endParaRPr>
          </a:p>
        </p:txBody>
      </p:sp>
      <p:cxnSp>
        <p:nvCxnSpPr>
          <p:cNvPr id="2073" name="직선 연결선 2072"/>
          <p:cNvCxnSpPr/>
          <p:nvPr/>
        </p:nvCxnSpPr>
        <p:spPr>
          <a:xfrm>
            <a:off x="4402135" y="5833195"/>
            <a:ext cx="2330105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6351084" y="5534526"/>
            <a:ext cx="762312" cy="279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지원</a:t>
            </a:r>
            <a:endParaRPr lang="ko-KR" altLang="en-US" sz="9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074" name="직사각형 2073"/>
          <p:cNvSpPr/>
          <p:nvPr/>
        </p:nvSpPr>
        <p:spPr>
          <a:xfrm>
            <a:off x="6804248" y="5321119"/>
            <a:ext cx="1224136" cy="5151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TextBox 69"/>
          <p:cNvSpPr txBox="1"/>
          <p:nvPr/>
        </p:nvSpPr>
        <p:spPr>
          <a:xfrm>
            <a:off x="6765674" y="5337436"/>
            <a:ext cx="12726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latin typeface="Adobe 고딕 Std B" pitchFamily="34" charset="-127"/>
                <a:ea typeface="Adobe 고딕 Std B" pitchFamily="34" charset="-127"/>
              </a:rPr>
              <a:t>- </a:t>
            </a: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식단제공</a:t>
            </a:r>
            <a:endParaRPr lang="en-US" altLang="ko-KR" sz="900" dirty="0">
              <a:latin typeface="Adobe 고딕 Std B" pitchFamily="34" charset="-127"/>
              <a:ea typeface="Adobe 고딕 Std B" pitchFamily="34" charset="-127"/>
            </a:endParaRPr>
          </a:p>
          <a:p>
            <a:r>
              <a:rPr lang="en-US" altLang="ko-KR" sz="900" dirty="0" smtClean="0">
                <a:latin typeface="Adobe 고딕 Std B" pitchFamily="34" charset="-127"/>
                <a:ea typeface="Adobe 고딕 Std B" pitchFamily="34" charset="-127"/>
              </a:rPr>
              <a:t>- </a:t>
            </a: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위생 및 </a:t>
            </a:r>
            <a:r>
              <a:rPr lang="ko-KR" altLang="en-US" sz="900" dirty="0" err="1" smtClean="0">
                <a:latin typeface="Adobe 고딕 Std B" pitchFamily="34" charset="-127"/>
                <a:ea typeface="Adobe 고딕 Std B" pitchFamily="34" charset="-127"/>
              </a:rPr>
              <a:t>식자재</a:t>
            </a: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 관리</a:t>
            </a:r>
            <a:endParaRPr lang="en-US" altLang="ko-KR" sz="900" dirty="0" smtClean="0">
              <a:latin typeface="Adobe 고딕 Std B" pitchFamily="34" charset="-127"/>
              <a:ea typeface="Adobe 고딕 Std B" pitchFamily="34" charset="-127"/>
            </a:endParaRPr>
          </a:p>
          <a:p>
            <a:r>
              <a:rPr lang="en-US" altLang="ko-KR" sz="900" dirty="0" smtClean="0">
                <a:latin typeface="Adobe 고딕 Std B" pitchFamily="34" charset="-127"/>
                <a:ea typeface="Adobe 고딕 Std B" pitchFamily="34" charset="-127"/>
              </a:rPr>
              <a:t>- </a:t>
            </a:r>
            <a:r>
              <a:rPr lang="ko-KR" altLang="en-US" sz="900" dirty="0" smtClean="0">
                <a:latin typeface="Adobe 고딕 Std B" pitchFamily="34" charset="-127"/>
                <a:ea typeface="Adobe 고딕 Std B" pitchFamily="34" charset="-127"/>
              </a:rPr>
              <a:t>교육 등</a:t>
            </a:r>
            <a:endParaRPr lang="ko-KR" altLang="en-US" sz="9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075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501" y="4465618"/>
            <a:ext cx="1340826" cy="283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4532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19633" y="411425"/>
            <a:ext cx="7416824" cy="448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건강식품  및  </a:t>
            </a:r>
            <a:r>
              <a:rPr lang="ko-KR" altLang="en-US" sz="2800" dirty="0" err="1" smtClean="0">
                <a:latin typeface="Adobe 고딕 Std B" pitchFamily="34" charset="-127"/>
                <a:ea typeface="Adobe 고딕 Std B" pitchFamily="34" charset="-127"/>
              </a:rPr>
              <a:t>의약외품</a:t>
            </a: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  안전관리  강화</a:t>
            </a:r>
            <a:endParaRPr lang="en-US" sz="28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Isosceles Triangle 1"/>
          <p:cNvSpPr/>
          <p:nvPr/>
        </p:nvSpPr>
        <p:spPr>
          <a:xfrm rot="5400000">
            <a:off x="425285" y="6193209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747100" y="6018092"/>
            <a:ext cx="82035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종합적인  대책  강구  법령개정  등  </a:t>
            </a: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안전관리체계  확립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필요</a:t>
            </a:r>
            <a:endParaRPr lang="ko-KR" altLang="en-US" sz="24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39950" y="1059629"/>
            <a:ext cx="81115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지역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방별 다양한 건강식품 및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약외품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제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판매 증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소비자 입장에서는 개별 광고 내용 중심으로 구입 및 복용하고 행태 일반화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특히 어르신 기망하는 건강식품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료기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약외품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떳다방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등 수시 발생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언론의 건강관련 프로그램 증대로 관련 제품 판매 증가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건강식품과 의약품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약품과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약외품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구분의 제도화 보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관련 불법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정 판매 유통에 대한 단속 철저 및 처벌 강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허위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과대광고의 예방 위해 사전 광고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심의제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도입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위해식품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및 </a:t>
            </a:r>
            <a:r>
              <a:rPr lang="ko-KR" altLang="en-US" sz="14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의약외품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기기 단속 정기화 등 </a:t>
            </a:r>
            <a:endParaRPr lang="en-US" altLang="ko-KR" sz="1400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안전망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위해 및 피해 예방을 위한 교육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홍보 및 정보제공 확대 등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3" name="타원 2"/>
          <p:cNvSpPr/>
          <p:nvPr/>
        </p:nvSpPr>
        <p:spPr>
          <a:xfrm>
            <a:off x="637789" y="4187855"/>
            <a:ext cx="784545" cy="801828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타원 37"/>
          <p:cNvSpPr/>
          <p:nvPr/>
        </p:nvSpPr>
        <p:spPr>
          <a:xfrm>
            <a:off x="5254437" y="4187854"/>
            <a:ext cx="784545" cy="801828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TextBox 38"/>
          <p:cNvSpPr txBox="1"/>
          <p:nvPr/>
        </p:nvSpPr>
        <p:spPr>
          <a:xfrm>
            <a:off x="422733" y="4434878"/>
            <a:ext cx="12285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의약외품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061" y="4187855"/>
            <a:ext cx="1511834" cy="1511834"/>
          </a:xfrm>
          <a:prstGeom prst="rect">
            <a:avLst/>
          </a:prstGeom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217" y="4026085"/>
            <a:ext cx="1843930" cy="1843930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4018191"/>
            <a:ext cx="1848076" cy="185116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045623" y="4440441"/>
            <a:ext cx="12285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고딕 Std B" pitchFamily="34" charset="-127"/>
                <a:ea typeface="Adobe 고딕 Std B" pitchFamily="34" charset="-127"/>
              </a:rPr>
              <a:t>건강식품</a:t>
            </a:r>
            <a:endParaRPr lang="ko-KR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0321" y="4490095"/>
            <a:ext cx="2515116" cy="1379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99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49109" y="294223"/>
            <a:ext cx="7416824" cy="448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수입식품  안전관리  강화</a:t>
            </a:r>
            <a:endParaRPr lang="en-US" sz="28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Isosceles Triangle 1"/>
          <p:cNvSpPr/>
          <p:nvPr/>
        </p:nvSpPr>
        <p:spPr>
          <a:xfrm rot="5400000">
            <a:off x="405443" y="6193209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747100" y="6064259"/>
            <a:ext cx="81847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입법 관련  사전 준비 및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sz="2000" dirty="0" err="1" smtClean="0">
                <a:latin typeface="Adobe 고딕 Std B" pitchFamily="34" charset="-127"/>
                <a:ea typeface="Adobe 고딕 Std B" pitchFamily="34" charset="-127"/>
              </a:rPr>
              <a:t>관광성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 개별 구입  식품 강화  등  종합대책 필요</a:t>
            </a:r>
            <a:endParaRPr lang="ko-KR" altLang="en-US" sz="20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39950" y="959514"/>
            <a:ext cx="828052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현재 수입식품의 안전관리는 ①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입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前단계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안전관리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통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유통단계 안전관리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유통 후 식품 복용 관련 안전관리 등으로 구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현행 관리 체계에서 해외제조업체나 유통업체의 안전상황 관리 어려움으로 사전 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방적인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해요소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관리에 한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관련 「식품위생법」 등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 법률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66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 고시 등 다양하고 복잡한 규정으로 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나누어서 관리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「수입식품 안전관리특별법」 제정 등 안전관리 패러다임 전환 필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639088" y="188762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639088" y="336388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3706277"/>
            <a:ext cx="3183048" cy="2351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706277"/>
            <a:ext cx="3606186" cy="2157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1932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36576" y="349629"/>
            <a:ext cx="7416824" cy="448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「통합  식품안전  정보망」 구축  사업  촉진</a:t>
            </a:r>
            <a:endParaRPr lang="en-US" sz="28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Isosceles Triangle 1"/>
          <p:cNvSpPr/>
          <p:nvPr/>
        </p:nvSpPr>
        <p:spPr>
          <a:xfrm rot="5400000">
            <a:off x="193674" y="6193209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76230" y="6041896"/>
            <a:ext cx="85602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추진상황  중간점검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보완 및 관련  소요예산  적극확보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, </a:t>
            </a:r>
            <a:r>
              <a:rPr lang="ko-KR" altLang="en-US" sz="2000" dirty="0" err="1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법적근거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강화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필요</a:t>
            </a:r>
            <a:endParaRPr lang="ko-KR" altLang="en-US" sz="20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39950" y="1059629"/>
            <a:ext cx="81115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식품안전관리 관련 정보가 부처별 분산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상호단절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품안전문제 발생시 신속한 대응에 한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보상 구축 완료 시급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식품안전정보 표준체계 마련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범부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행정업무 통합시스템 구축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보활용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공동시스템 및 식품안전정보포털 등 단계적 추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처와 산하기관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산업체 등 「맞춤형」 정보 제공토록 추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630408" y="160608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639088" y="268883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8" y="3140968"/>
            <a:ext cx="5328592" cy="2778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953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0" name="Rectangle 16"/>
          <p:cNvSpPr/>
          <p:nvPr/>
        </p:nvSpPr>
        <p:spPr>
          <a:xfrm>
            <a:off x="467792" y="1496080"/>
            <a:ext cx="8280676" cy="46782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ko-KR" altLang="en-US" sz="1600" dirty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식품안전  기대와  욕구  더욱  증가         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시대</a:t>
            </a:r>
            <a:r>
              <a:rPr lang="en-US" altLang="ko-KR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사회적  추세</a:t>
            </a:r>
            <a:r>
              <a:rPr lang="en-US" altLang="ko-KR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수용</a:t>
            </a:r>
            <a:endParaRPr lang="en-US" sz="16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35711" y="484653"/>
            <a:ext cx="6968182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</a:t>
            </a:r>
            <a:r>
              <a:rPr lang="ko-KR" altLang="en-US" sz="2800" dirty="0" err="1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식약처</a:t>
            </a: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」 승격 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이후</a:t>
            </a:r>
            <a:r>
              <a:rPr lang="en-US" altLang="ko-KR" sz="2400" dirty="0" smtClean="0"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위상과  기능  관련  평가</a:t>
            </a:r>
            <a:endParaRPr lang="en-US" sz="24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2" name="Rectangle 77"/>
          <p:cNvSpPr/>
          <p:nvPr/>
        </p:nvSpPr>
        <p:spPr>
          <a:xfrm>
            <a:off x="467791" y="2267075"/>
            <a:ext cx="8280676" cy="46782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ko-KR" altLang="en-US" sz="160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 높아진  위상</a:t>
            </a:r>
            <a:r>
              <a:rPr lang="en-US" altLang="ko-KR" sz="1600" spc="-15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160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권한  등  업무체계  강화</a:t>
            </a:r>
            <a:r>
              <a:rPr lang="ko-KR" altLang="en-US" sz="1600" spc="-15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                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축산물 등 「행정 이원화」여전</a:t>
            </a:r>
            <a:r>
              <a:rPr lang="en-US" altLang="ko-KR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난제</a:t>
            </a:r>
            <a:endParaRPr lang="en-US" altLang="ko-KR" sz="16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3" name="Rectangle 78"/>
          <p:cNvSpPr/>
          <p:nvPr/>
        </p:nvSpPr>
        <p:spPr>
          <a:xfrm>
            <a:off x="476228" y="3052581"/>
            <a:ext cx="8280676" cy="46782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ko-KR" altLang="en-US" sz="1600" dirty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일시적  단기  현안  과제 집중            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미래  중장기  개선  및  발전 대책 </a:t>
            </a:r>
            <a:endParaRPr lang="en-US" altLang="ko-KR" sz="16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4" name="Rectangle 79"/>
          <p:cNvSpPr/>
          <p:nvPr/>
        </p:nvSpPr>
        <p:spPr>
          <a:xfrm>
            <a:off x="476227" y="3832623"/>
            <a:ext cx="8280676" cy="46782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ko-KR" altLang="en-US" sz="160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 안전사고  이후  조치와  처벌  위주          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예방  위주</a:t>
            </a:r>
            <a:r>
              <a:rPr lang="en-US" altLang="ko-KR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선제  행정지도  등</a:t>
            </a:r>
            <a:endParaRPr lang="en-US" altLang="ko-KR" sz="16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grpSp>
        <p:nvGrpSpPr>
          <p:cNvPr id="27" name="Group 7"/>
          <p:cNvGrpSpPr/>
          <p:nvPr/>
        </p:nvGrpSpPr>
        <p:grpSpPr>
          <a:xfrm>
            <a:off x="507876" y="1455207"/>
            <a:ext cx="518790" cy="518788"/>
            <a:chOff x="349648" y="2204865"/>
            <a:chExt cx="518790" cy="518788"/>
          </a:xfrm>
        </p:grpSpPr>
        <p:sp>
          <p:nvSpPr>
            <p:cNvPr id="28" name="Oval 55"/>
            <p:cNvSpPr/>
            <p:nvPr>
              <p:custDataLst>
                <p:tags r:id="rId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56"/>
            <p:cNvSpPr/>
            <p:nvPr>
              <p:custDataLst>
                <p:tags r:id="rId1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30" name="Group 7"/>
          <p:cNvGrpSpPr/>
          <p:nvPr/>
        </p:nvGrpSpPr>
        <p:grpSpPr>
          <a:xfrm>
            <a:off x="507876" y="2226202"/>
            <a:ext cx="518790" cy="518788"/>
            <a:chOff x="349648" y="2204865"/>
            <a:chExt cx="518790" cy="518788"/>
          </a:xfrm>
        </p:grpSpPr>
        <p:sp>
          <p:nvSpPr>
            <p:cNvPr id="31" name="Oval 55"/>
            <p:cNvSpPr/>
            <p:nvPr>
              <p:custDataLst>
                <p:tags r:id="rId7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56"/>
            <p:cNvSpPr/>
            <p:nvPr>
              <p:custDataLst>
                <p:tags r:id="rId8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2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7"/>
          <p:cNvGrpSpPr/>
          <p:nvPr/>
        </p:nvGrpSpPr>
        <p:grpSpPr>
          <a:xfrm>
            <a:off x="516313" y="3012449"/>
            <a:ext cx="518790" cy="518788"/>
            <a:chOff x="349648" y="2204865"/>
            <a:chExt cx="518790" cy="518788"/>
          </a:xfrm>
        </p:grpSpPr>
        <p:sp>
          <p:nvSpPr>
            <p:cNvPr id="34" name="Oval 55"/>
            <p:cNvSpPr/>
            <p:nvPr>
              <p:custDataLst>
                <p:tags r:id="rId5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56"/>
            <p:cNvSpPr/>
            <p:nvPr>
              <p:custDataLst>
                <p:tags r:id="rId6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3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 7"/>
          <p:cNvGrpSpPr/>
          <p:nvPr/>
        </p:nvGrpSpPr>
        <p:grpSpPr>
          <a:xfrm>
            <a:off x="516313" y="3791750"/>
            <a:ext cx="518790" cy="518788"/>
            <a:chOff x="349648" y="2204865"/>
            <a:chExt cx="518790" cy="518788"/>
          </a:xfrm>
        </p:grpSpPr>
        <p:sp>
          <p:nvSpPr>
            <p:cNvPr id="37" name="Oval 55"/>
            <p:cNvSpPr/>
            <p:nvPr>
              <p:custDataLst>
                <p:tags r:id="rId3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56"/>
            <p:cNvSpPr/>
            <p:nvPr>
              <p:custDataLst>
                <p:tags r:id="rId4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4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Rectangle 79"/>
          <p:cNvSpPr/>
          <p:nvPr/>
        </p:nvSpPr>
        <p:spPr>
          <a:xfrm>
            <a:off x="476227" y="4647554"/>
            <a:ext cx="8280676" cy="46782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en-US" altLang="ko-KR" sz="1600" dirty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식품관련  업소</a:t>
            </a:r>
            <a:r>
              <a:rPr lang="en-US" altLang="ko-KR" sz="160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1600" dirty="0" smtClean="0">
                <a:solidFill>
                  <a:schemeClr val="tx1"/>
                </a:solidFill>
                <a:latin typeface="Adobe 고딕 Std B" pitchFamily="34" charset="-127"/>
                <a:ea typeface="Adobe 고딕 Std B" pitchFamily="34" charset="-127"/>
              </a:rPr>
              <a:t>업자중심         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사람중심</a:t>
            </a:r>
            <a:r>
              <a:rPr lang="en-US" altLang="ko-KR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고객</a:t>
            </a:r>
            <a:r>
              <a:rPr lang="en-US" altLang="ko-KR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16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소비자  중심</a:t>
            </a:r>
            <a:endParaRPr lang="en-US" altLang="ko-KR" sz="16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grpSp>
        <p:nvGrpSpPr>
          <p:cNvPr id="40" name="Group 7"/>
          <p:cNvGrpSpPr/>
          <p:nvPr/>
        </p:nvGrpSpPr>
        <p:grpSpPr>
          <a:xfrm>
            <a:off x="516313" y="4606681"/>
            <a:ext cx="518790" cy="518788"/>
            <a:chOff x="349648" y="2204865"/>
            <a:chExt cx="518790" cy="518788"/>
          </a:xfrm>
        </p:grpSpPr>
        <p:sp>
          <p:nvSpPr>
            <p:cNvPr id="41" name="Oval 55"/>
            <p:cNvSpPr/>
            <p:nvPr>
              <p:custDataLst>
                <p:tags r:id="rId1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56"/>
            <p:cNvSpPr/>
            <p:nvPr>
              <p:custDataLst>
                <p:tags r:id="rId2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5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Isosceles Triangle 1"/>
          <p:cNvSpPr/>
          <p:nvPr/>
        </p:nvSpPr>
        <p:spPr>
          <a:xfrm rot="5400000">
            <a:off x="275371" y="5967103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664362" y="5791986"/>
            <a:ext cx="837213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국민의 입장</a:t>
            </a:r>
            <a:r>
              <a:rPr lang="en-US" altLang="ko-KR" sz="2000" dirty="0" smtClean="0">
                <a:solidFill>
                  <a:schemeClr val="accent2"/>
                </a:solidFill>
                <a:latin typeface="Adobe 고딕 Std B" pitchFamily="34" charset="-127"/>
                <a:ea typeface="Adobe 고딕 Std B" pitchFamily="34" charset="-127"/>
              </a:rPr>
              <a:t>,</a:t>
            </a:r>
            <a:r>
              <a:rPr lang="ko-KR" altLang="en-US" sz="2000" dirty="0" smtClean="0">
                <a:solidFill>
                  <a:schemeClr val="accent2"/>
                </a:solidFill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물품중심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현장중심의  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식품안전  행정중심  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등  보완  필요</a:t>
            </a:r>
            <a:endParaRPr lang="ko-KR" altLang="en-US" sz="20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43" name="그림 4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893" y="298457"/>
            <a:ext cx="635781" cy="698345"/>
          </a:xfrm>
          <a:prstGeom prst="rect">
            <a:avLst/>
          </a:prstGeom>
        </p:spPr>
      </p:pic>
      <p:sp>
        <p:nvSpPr>
          <p:cNvPr id="2" name="오른쪽 화살표 1"/>
          <p:cNvSpPr/>
          <p:nvPr/>
        </p:nvSpPr>
        <p:spPr>
          <a:xfrm>
            <a:off x="4211960" y="164948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오른쪽 화살표 43"/>
          <p:cNvSpPr/>
          <p:nvPr/>
        </p:nvSpPr>
        <p:spPr>
          <a:xfrm>
            <a:off x="4608129" y="243587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오른쪽 화살표 44"/>
          <p:cNvSpPr/>
          <p:nvPr/>
        </p:nvSpPr>
        <p:spPr>
          <a:xfrm>
            <a:off x="3851920" y="320673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오른쪽 화살표 45"/>
          <p:cNvSpPr/>
          <p:nvPr/>
        </p:nvSpPr>
        <p:spPr>
          <a:xfrm>
            <a:off x="4284914" y="39860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오른쪽 화살표 46"/>
          <p:cNvSpPr/>
          <p:nvPr/>
        </p:nvSpPr>
        <p:spPr>
          <a:xfrm>
            <a:off x="3563888" y="48009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32526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50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50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3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 tmFilter="0, 0; .2, .5; .8, .5; 1, 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500" autoRev="1" fill="hold"/>
                                        <p:tgtEl>
                                          <p:spTgt spid="4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000"/>
                            </p:stCondLst>
                            <p:childTnLst>
                              <p:par>
                                <p:cTn id="30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5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7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25737" y="449018"/>
            <a:ext cx="7790713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위해 </a:t>
            </a:r>
            <a:r>
              <a:rPr lang="en-US" altLang="ko-KR" sz="28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危害</a:t>
            </a:r>
            <a:r>
              <a:rPr lang="en-US" altLang="ko-KR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) </a:t>
            </a: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식품  정보」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수집</a:t>
            </a:r>
            <a:r>
              <a:rPr lang="en-US" altLang="ko-KR" sz="2400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제공  관련  개선</a:t>
            </a:r>
            <a:endParaRPr lang="en-US" sz="24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51" name="Isosceles Triangle 1"/>
          <p:cNvSpPr/>
          <p:nvPr/>
        </p:nvSpPr>
        <p:spPr>
          <a:xfrm rot="5400000">
            <a:off x="259571" y="6221449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542127" y="6095168"/>
            <a:ext cx="840791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시스템  용량  보강</a:t>
            </a:r>
            <a:r>
              <a:rPr lang="en-US" altLang="ko-KR" dirty="0" smtClean="0"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중</a:t>
            </a:r>
            <a:r>
              <a:rPr lang="en-US" altLang="ko-KR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dirty="0" err="1" smtClean="0">
                <a:latin typeface="Adobe 고딕 Std B" pitchFamily="34" charset="-127"/>
                <a:ea typeface="Adobe 고딕 Std B" pitchFamily="34" charset="-127"/>
              </a:rPr>
              <a:t>소매장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  지원 등</a:t>
            </a:r>
            <a:r>
              <a:rPr lang="ko-KR" altLang="en-US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</a:t>
            </a:r>
            <a:r>
              <a:rPr lang="ko-KR" altLang="en-US" dirty="0" err="1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위해식품</a:t>
            </a:r>
            <a:r>
              <a:rPr lang="ko-KR" altLang="en-US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  구매  정보 관리」  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개선 필요</a:t>
            </a:r>
            <a:endParaRPr lang="ko-KR" altLang="en-US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599051" y="1017648"/>
            <a:ext cx="834307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09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관련부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해상품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판매차단시스템」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구축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품 및 축산물은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13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연계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부적합 식품을 민간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DB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한상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에 연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구매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자동차단 방식 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업체 부담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품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4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만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천여 개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29%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설치 완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‘13.12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준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형 매장 대부분 </a:t>
            </a:r>
            <a:r>
              <a:rPr lang="ko-KR" altLang="en-US" sz="1600" b="1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설치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문제 ①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규모 업체 설치 비용부담 및 국민들의 인지부족으로 인한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급 지연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문제 ②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: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스템 설치업소 수 증가 따른 민간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DB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버용량 초과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과부하 상황 </a:t>
            </a:r>
            <a:endParaRPr lang="ko-KR" altLang="en-US" sz="1600" dirty="0"/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8193" name="_x181350984" descr="EMB00005c3c5c6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75" y="3181720"/>
            <a:ext cx="4932324" cy="2623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487897"/>
            <a:ext cx="2609504" cy="18925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타원 11"/>
          <p:cNvSpPr/>
          <p:nvPr/>
        </p:nvSpPr>
        <p:spPr>
          <a:xfrm>
            <a:off x="4187041" y="4797152"/>
            <a:ext cx="613446" cy="648072"/>
          </a:xfrm>
          <a:prstGeom prst="ellipse">
            <a:avLst/>
          </a:prstGeom>
          <a:solidFill>
            <a:srgbClr val="C00000">
              <a:alpha val="22000"/>
            </a:srgb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6" name="직선 연결선 15"/>
          <p:cNvCxnSpPr>
            <a:stCxn id="12" idx="7"/>
          </p:cNvCxnSpPr>
          <p:nvPr/>
        </p:nvCxnSpPr>
        <p:spPr>
          <a:xfrm flipV="1">
            <a:off x="4710650" y="4217898"/>
            <a:ext cx="1013478" cy="674162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오른쪽 화살표 16"/>
          <p:cNvSpPr/>
          <p:nvPr/>
        </p:nvSpPr>
        <p:spPr>
          <a:xfrm>
            <a:off x="5923418" y="11719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920868" y="15567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5895934" y="19220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6868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0"/>
                            </p:stCondLst>
                            <p:childTnLst>
                              <p:par>
                                <p:cTn id="11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3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4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500"/>
                            </p:stCondLst>
                            <p:childTnLst>
                              <p:par>
                                <p:cTn id="23" presetID="27" presetClass="emph" presetSubtype="0" fill="remove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5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6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12" grpId="0" animBg="1"/>
      <p:bldP spid="12" grpId="1" animBg="1"/>
      <p:bldP spid="12" grpId="2" animBg="1"/>
      <p:bldP spid="12" grpId="3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18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20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그림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925354" y="486851"/>
            <a:ext cx="7672369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유전자재조합</a:t>
            </a:r>
            <a:r>
              <a:rPr lang="en-US" altLang="ko-KR" sz="2400" dirty="0" smtClean="0">
                <a:latin typeface="Adobe 고딕 Std B" pitchFamily="34" charset="-127"/>
                <a:ea typeface="Adobe 고딕 Std B" pitchFamily="34" charset="-127"/>
              </a:rPr>
              <a:t>&lt;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포함</a:t>
            </a:r>
            <a:r>
              <a:rPr lang="en-US" altLang="ko-KR" sz="2400" dirty="0" smtClean="0">
                <a:latin typeface="Adobe 고딕 Std B" pitchFamily="34" charset="-127"/>
                <a:ea typeface="Adobe 고딕 Std B" pitchFamily="34" charset="-127"/>
              </a:rPr>
              <a:t>&gt;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식품</a:t>
            </a:r>
            <a:r>
              <a:rPr lang="en-US" altLang="ko-KR" sz="2400" dirty="0" smtClean="0">
                <a:latin typeface="Adobe 고딕 Std B" pitchFamily="34" charset="-127"/>
                <a:ea typeface="Adobe 고딕 Std B" pitchFamily="34" charset="-127"/>
              </a:rPr>
              <a:t>(GMO/LMO) 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관리  개</a:t>
            </a:r>
            <a:r>
              <a:rPr lang="ko-KR" altLang="en-US" sz="2400" dirty="0">
                <a:latin typeface="Adobe 고딕 Std B" pitchFamily="34" charset="-127"/>
                <a:ea typeface="Adobe 고딕 Std B" pitchFamily="34" charset="-127"/>
              </a:rPr>
              <a:t>선</a:t>
            </a:r>
            <a:endParaRPr lang="en-US" sz="24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20909" y="1172303"/>
            <a:ext cx="8191034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유전자재조합 농수산물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부재료로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용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가공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유전자재조합식품」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소비자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알 권리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식품 선택권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장 차원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GMO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표시제도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행 중</a:t>
            </a:r>
            <a:endParaRPr lang="ko-KR" altLang="en-US" sz="16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주요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원재료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순위 이내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포함 경우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GMO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표시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「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순위 </a:t>
            </a:r>
            <a:r>
              <a:rPr lang="en-US" altLang="ko-KR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10% 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이상 </a:t>
            </a:r>
            <a:r>
              <a:rPr lang="ko-KR" altLang="en-US" sz="14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포함시</a:t>
            </a:r>
            <a:r>
              <a:rPr lang="ko-KR" altLang="en-US" sz="14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면제」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문제는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내 반입시「수출업체 제출 시험검사」에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존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한 통관제도 채택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①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특정 영양성분을 강화한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GMO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제품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가공방법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따라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표시 면제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표시 사각지대」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증가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②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유기농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알레르기유발성분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포함 식품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」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전체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원료성분표시 </a:t>
            </a:r>
            <a:r>
              <a:rPr lang="ko-KR" altLang="en-US" sz="14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엄격한 표시제도 적용</a:t>
            </a:r>
            <a:endParaRPr lang="ko-KR" altLang="en-US" sz="140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9" name="Isosceles Triangle 1"/>
          <p:cNvSpPr/>
          <p:nvPr/>
        </p:nvSpPr>
        <p:spPr>
          <a:xfrm rot="5400000">
            <a:off x="629028" y="5593536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860109" y="5483838"/>
            <a:ext cx="78028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원료기반  </a:t>
            </a:r>
            <a:r>
              <a:rPr lang="en-US" altLang="ko-KR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GMO</a:t>
            </a:r>
            <a:r>
              <a:rPr lang="ko-KR" altLang="en-US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표시제도」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로  정책 전환</a:t>
            </a:r>
            <a:r>
              <a:rPr lang="en-US" altLang="ko-KR" dirty="0" smtClean="0">
                <a:latin typeface="Adobe 고딕 Std B" pitchFamily="34" charset="-127"/>
                <a:ea typeface="Adobe 고딕 Std B" pitchFamily="34" charset="-127"/>
              </a:rPr>
              <a:t>,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  자체  안전성  평가 연구</a:t>
            </a:r>
            <a:endParaRPr lang="en-US" altLang="ko-KR" dirty="0" smtClean="0">
              <a:latin typeface="Adobe 고딕 Std B" pitchFamily="34" charset="-127"/>
              <a:ea typeface="Adobe 고딕 Std B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 smtClean="0">
                <a:latin typeface="Adobe 고딕 Std B" pitchFamily="34" charset="-127"/>
                <a:ea typeface="Adobe 고딕 Std B" pitchFamily="34" charset="-127"/>
              </a:rPr>
              <a:t>   100% GMO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농산물  가공식품</a:t>
            </a:r>
            <a:r>
              <a:rPr lang="en-US" altLang="ko-KR" dirty="0" smtClean="0">
                <a:latin typeface="Adobe 고딕 Std B" pitchFamily="34" charset="-127"/>
                <a:ea typeface="Adobe 고딕 Std B" pitchFamily="34" charset="-127"/>
              </a:rPr>
              <a:t>,  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글로벌  </a:t>
            </a:r>
            <a:r>
              <a:rPr lang="en-US" altLang="ko-KR" dirty="0" smtClean="0">
                <a:latin typeface="Adobe 고딕 Std B" pitchFamily="34" charset="-127"/>
                <a:ea typeface="Adobe 고딕 Std B" pitchFamily="34" charset="-127"/>
              </a:rPr>
              <a:t>GMO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작물  등 </a:t>
            </a:r>
            <a:r>
              <a:rPr lang="ko-KR" altLang="en-US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의무표시제도」</a:t>
            </a:r>
            <a:r>
              <a:rPr lang="ko-KR" altLang="en-US" dirty="0" smtClean="0">
                <a:latin typeface="Adobe 고딕 Std B" pitchFamily="34" charset="-127"/>
                <a:ea typeface="Adobe 고딕 Std B" pitchFamily="34" charset="-127"/>
              </a:rPr>
              <a:t>필요</a:t>
            </a:r>
            <a:endParaRPr lang="ko-KR" altLang="en-US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3" name="_x239525056" descr="EMB00002880044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9686" y="3933056"/>
            <a:ext cx="6794810" cy="11774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Isosceles Triangle 1"/>
          <p:cNvSpPr/>
          <p:nvPr/>
        </p:nvSpPr>
        <p:spPr>
          <a:xfrm rot="5400000">
            <a:off x="629028" y="6007746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오른쪽 화살표 14"/>
          <p:cNvSpPr/>
          <p:nvPr/>
        </p:nvSpPr>
        <p:spPr>
          <a:xfrm>
            <a:off x="5724128" y="136247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4932040" y="173549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4824028" y="211175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오른쪽 화살표 24"/>
          <p:cNvSpPr/>
          <p:nvPr/>
        </p:nvSpPr>
        <p:spPr>
          <a:xfrm>
            <a:off x="6151512" y="31409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오른쪽 화살표 26"/>
          <p:cNvSpPr/>
          <p:nvPr/>
        </p:nvSpPr>
        <p:spPr>
          <a:xfrm>
            <a:off x="6151512" y="281338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94909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2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64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그림 6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1266155" y="425943"/>
            <a:ext cx="7678693" cy="448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단  맛의  유혹 </a:t>
            </a:r>
            <a:r>
              <a:rPr lang="en-US" altLang="ko-KR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!  </a:t>
            </a: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당신의  건강은 </a:t>
            </a:r>
            <a:r>
              <a:rPr lang="en-US" altLang="ko-KR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?  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[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정책백서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]</a:t>
            </a:r>
            <a:endParaRPr lang="en-US" sz="20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523712" y="1268557"/>
            <a:ext cx="83687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가공식품 기준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당류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섭취      유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청소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WHO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권고기준</a:t>
            </a:r>
            <a:r>
              <a:rPr lang="en-US" altLang="ko-KR" sz="105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</a:t>
            </a:r>
            <a:r>
              <a:rPr lang="ko-KR" altLang="en-US" sz="105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 </a:t>
            </a:r>
            <a:r>
              <a:rPr lang="en-US" altLang="ko-KR" sz="105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05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천</a:t>
            </a:r>
            <a:r>
              <a:rPr lang="en-US" altLang="ko-KR" sz="105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cal  </a:t>
            </a:r>
            <a:r>
              <a:rPr lang="ko-KR" altLang="en-US" sz="105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 </a:t>
            </a:r>
            <a:r>
              <a:rPr lang="en-US" altLang="ko-KR" sz="105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0g </a:t>
            </a:r>
            <a:r>
              <a:rPr lang="ko-KR" altLang="en-US" sz="105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만</a:t>
            </a:r>
            <a:r>
              <a:rPr lang="en-US" altLang="ko-KR" sz="105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초과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당섭취량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분석 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여성보다 남성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하위계층보다 상위계층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읍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면보다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대도시가 높음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섭취음식물    음료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34.3%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빵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떡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15.0%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&gt;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설탕 및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타당류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14.5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)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順</a:t>
            </a:r>
            <a:endParaRPr lang="ko-KR" altLang="en-US" sz="16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09" name="Isosceles Triangle 1"/>
          <p:cNvSpPr/>
          <p:nvPr/>
        </p:nvSpPr>
        <p:spPr>
          <a:xfrm rot="5400000">
            <a:off x="389205" y="6123889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TextBox 109"/>
          <p:cNvSpPr txBox="1"/>
          <p:nvPr/>
        </p:nvSpPr>
        <p:spPr>
          <a:xfrm>
            <a:off x="707706" y="5941284"/>
            <a:ext cx="8237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나트륨」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에 이은 </a:t>
            </a: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당류 섭취 저감정책」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적극 추진 필요</a:t>
            </a:r>
            <a:endParaRPr lang="ko-KR" altLang="en-US" sz="24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2852936"/>
            <a:ext cx="2467405" cy="2890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678" y="2852936"/>
            <a:ext cx="2088232" cy="2959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오른쪽 화살표 13"/>
          <p:cNvSpPr/>
          <p:nvPr/>
        </p:nvSpPr>
        <p:spPr>
          <a:xfrm>
            <a:off x="3374772" y="144168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2051720" y="216104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2312132" y="180360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1268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2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64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그림 6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1289686" y="425943"/>
            <a:ext cx="6788598" cy="410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500" dirty="0" smtClean="0">
                <a:latin typeface="Adobe 고딕 Std B" pitchFamily="34" charset="-127"/>
                <a:ea typeface="Adobe 고딕 Std B" pitchFamily="34" charset="-127"/>
              </a:rPr>
              <a:t>신종  기능성음료 </a:t>
            </a:r>
            <a:r>
              <a:rPr lang="ko-KR" altLang="en-US" sz="25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  에너지음료  오</a:t>
            </a:r>
            <a:r>
              <a:rPr lang="en-US" altLang="ko-KR" sz="25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25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남용   </a:t>
            </a:r>
            <a:r>
              <a:rPr lang="ko-KR" altLang="en-US" sz="2500" dirty="0" smtClean="0">
                <a:latin typeface="Adobe 고딕 Std B" pitchFamily="34" charset="-127"/>
                <a:ea typeface="Adobe 고딕 Std B" pitchFamily="34" charset="-127"/>
              </a:rPr>
              <a:t>문제</a:t>
            </a:r>
            <a:endParaRPr lang="en-US" sz="25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476230" y="1124744"/>
            <a:ext cx="841625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과채주스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22.8%)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커피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7.5%)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탄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16.4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%)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기능성 음료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.0%)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섭취 급증 </a:t>
            </a:r>
            <a:r>
              <a:rPr lang="en-US" altLang="ko-KR" sz="12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품목별 </a:t>
            </a:r>
            <a:r>
              <a:rPr lang="ko-KR" altLang="en-US" sz="12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소비현황</a:t>
            </a:r>
            <a:r>
              <a:rPr lang="en-US" altLang="ko-KR" sz="12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2013)</a:t>
            </a:r>
            <a:endParaRPr lang="ko-KR" altLang="en-US" spc="-1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에너지음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피로경감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활발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신진대사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집중력 상승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졸음예방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과대광고</a:t>
            </a:r>
            <a:endParaRPr lang="ko-KR" altLang="en-US" sz="1600" b="1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주원료인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카페인」과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청소년들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오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남용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다섭취 경향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증가추세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고교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대학생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섭취경험자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60%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이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상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불면</a:t>
            </a:r>
            <a:r>
              <a:rPr lang="en-US" altLang="ko-KR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심장 떨림 등 이상증세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경험 </a:t>
            </a:r>
            <a:endParaRPr lang="en-US" altLang="ko-KR" sz="14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외국의「에너지음료」강제관리정책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례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200000"/>
              </a:lnSpc>
            </a:pP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노르웨이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약국에서만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판매                   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스웨덴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: 15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세 이하 어린이들에게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판매 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금지</a:t>
            </a:r>
          </a:p>
          <a:p>
            <a:pPr fontAlgn="base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·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호주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3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고카페인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음료 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의약품으로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분류 판매    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우루과이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판매 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전면 금지</a:t>
            </a:r>
          </a:p>
        </p:txBody>
      </p:sp>
      <p:sp>
        <p:nvSpPr>
          <p:cNvPr id="109" name="Isosceles Triangle 1"/>
          <p:cNvSpPr/>
          <p:nvPr/>
        </p:nvSpPr>
        <p:spPr>
          <a:xfrm rot="5400000">
            <a:off x="612593" y="6184828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TextBox 109"/>
          <p:cNvSpPr txBox="1"/>
          <p:nvPr/>
        </p:nvSpPr>
        <p:spPr>
          <a:xfrm>
            <a:off x="828870" y="6055878"/>
            <a:ext cx="78903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</a:t>
            </a:r>
            <a:r>
              <a:rPr lang="ko-KR" altLang="en-US" sz="2000" dirty="0" err="1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高카페인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  함유  음료 」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에  대한 </a:t>
            </a:r>
            <a:r>
              <a:rPr lang="en-US" altLang="ko-KR" sz="2000" dirty="0"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강제적</a:t>
            </a:r>
            <a:r>
              <a:rPr lang="en-US" altLang="ko-KR" sz="2000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적극적  관리 시책  필요</a:t>
            </a:r>
            <a:endParaRPr lang="ko-KR" altLang="en-US" sz="20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852" y="3840798"/>
            <a:ext cx="3816424" cy="206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846" y="4220821"/>
            <a:ext cx="3112527" cy="130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800878" y="5516631"/>
            <a:ext cx="855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n w="12700">
                  <a:noFill/>
                </a:ln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160</a:t>
            </a:r>
            <a:r>
              <a:rPr lang="en-US" altLang="ko-KR" sz="1400" dirty="0" smtClean="0">
                <a:ln w="12700">
                  <a:noFill/>
                </a:ln>
                <a:latin typeface="Adobe 고딕 Std B" pitchFamily="34" charset="-127"/>
                <a:ea typeface="Adobe 고딕 Std B" pitchFamily="34" charset="-127"/>
              </a:rPr>
              <a:t>mg</a:t>
            </a:r>
            <a:endParaRPr lang="ko-KR" altLang="en-US" sz="1400" dirty="0">
              <a:ln w="12700">
                <a:noFill/>
              </a:ln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61761" y="5516631"/>
            <a:ext cx="855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n w="12700">
                  <a:noFill/>
                </a:ln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62.5</a:t>
            </a:r>
            <a:r>
              <a:rPr lang="en-US" altLang="ko-KR" sz="1400" dirty="0" smtClean="0">
                <a:ln w="12700">
                  <a:noFill/>
                </a:ln>
                <a:latin typeface="Adobe 고딕 Std B" pitchFamily="34" charset="-127"/>
                <a:ea typeface="Adobe 고딕 Std B" pitchFamily="34" charset="-127"/>
              </a:rPr>
              <a:t>mg</a:t>
            </a:r>
            <a:endParaRPr lang="ko-KR" altLang="en-US" sz="1400" dirty="0">
              <a:ln w="12700">
                <a:noFill/>
              </a:ln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84314" y="5516631"/>
            <a:ext cx="855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n w="12700">
                  <a:noFill/>
                </a:ln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80</a:t>
            </a:r>
            <a:r>
              <a:rPr lang="en-US" altLang="ko-KR" sz="1400" dirty="0" smtClean="0">
                <a:ln w="12700">
                  <a:noFill/>
                </a:ln>
                <a:latin typeface="Adobe 고딕 Std B" pitchFamily="34" charset="-127"/>
                <a:ea typeface="Adobe 고딕 Std B" pitchFamily="34" charset="-127"/>
              </a:rPr>
              <a:t>mg</a:t>
            </a:r>
            <a:endParaRPr lang="ko-KR" altLang="en-US" sz="1400" dirty="0">
              <a:ln w="12700">
                <a:noFill/>
              </a:ln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03077" y="5523672"/>
            <a:ext cx="855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n w="12700">
                  <a:noFill/>
                </a:ln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160</a:t>
            </a:r>
            <a:r>
              <a:rPr lang="en-US" altLang="ko-KR" sz="1400" dirty="0" smtClean="0">
                <a:ln w="12700">
                  <a:noFill/>
                </a:ln>
                <a:latin typeface="Adobe 고딕 Std B" pitchFamily="34" charset="-127"/>
                <a:ea typeface="Adobe 고딕 Std B" pitchFamily="34" charset="-127"/>
              </a:rPr>
              <a:t>mg</a:t>
            </a:r>
            <a:endParaRPr lang="ko-KR" altLang="en-US" sz="1400" dirty="0">
              <a:ln w="12700">
                <a:noFill/>
              </a:ln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48521" y="5523672"/>
            <a:ext cx="855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n w="12700">
                  <a:noFill/>
                </a:ln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160</a:t>
            </a:r>
            <a:r>
              <a:rPr lang="en-US" altLang="ko-KR" sz="1400" dirty="0" smtClean="0">
                <a:ln w="12700">
                  <a:noFill/>
                </a:ln>
                <a:latin typeface="Adobe 고딕 Std B" pitchFamily="34" charset="-127"/>
                <a:ea typeface="Adobe 고딕 Std B" pitchFamily="34" charset="-127"/>
              </a:rPr>
              <a:t>mg</a:t>
            </a:r>
            <a:endParaRPr lang="ko-KR" altLang="en-US" sz="1400" dirty="0">
              <a:ln w="12700">
                <a:noFill/>
              </a:ln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599051" y="3045133"/>
            <a:ext cx="7520609" cy="56692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4443840" y="13016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7029299" y="16547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02211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2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64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그림 6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1187624" y="425943"/>
            <a:ext cx="7263196" cy="448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어린이  </a:t>
            </a:r>
            <a:r>
              <a:rPr lang="ko-KR" altLang="en-US" sz="28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식품안전 」 </a:t>
            </a: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관련  업무  강화</a:t>
            </a:r>
            <a:endParaRPr lang="en-US" sz="28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391901" y="1171939"/>
            <a:ext cx="863661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어린이 식품안전에 대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대국민 안심체감도」 </a:t>
            </a:r>
            <a:r>
              <a:rPr lang="en-US" altLang="ko-KR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 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7%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안” 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식품안전보호구역」“잘 모른다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+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모른다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”</a:t>
            </a:r>
            <a:r>
              <a:rPr lang="en-US" altLang="ko-KR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학생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72%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학부모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2%·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업주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9%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‘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식품안전보호구역內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안전구역내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우수판매업소 지정수</a:t>
            </a:r>
            <a:r>
              <a:rPr lang="en-US" altLang="ko-KR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`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1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,660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소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`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3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,895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소</a:t>
            </a:r>
            <a:endParaRPr lang="en-US" altLang="ko-KR" sz="16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식품안전보호구역內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高열량저영양식품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高카페인음료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무제한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판매</a:t>
            </a:r>
            <a:r>
              <a:rPr lang="en-US" altLang="ko-KR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관련부처‘협조’</a:t>
            </a:r>
            <a:r>
              <a:rPr lang="ko-KR" altLang="en-US" sz="16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수준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09" name="Isosceles Triangle 1"/>
          <p:cNvSpPr/>
          <p:nvPr/>
        </p:nvSpPr>
        <p:spPr>
          <a:xfrm rot="5400000">
            <a:off x="424996" y="6115705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TextBox 109"/>
          <p:cNvSpPr txBox="1"/>
          <p:nvPr/>
        </p:nvSpPr>
        <p:spPr>
          <a:xfrm>
            <a:off x="726758" y="5963672"/>
            <a:ext cx="818492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latin typeface="Adobe 고딕 Std B" pitchFamily="34" charset="-127"/>
                <a:ea typeface="Adobe 고딕 Std B" pitchFamily="34" charset="-127"/>
              </a:rPr>
              <a:t>선진국 수준의 </a:t>
            </a:r>
            <a:r>
              <a:rPr lang="ko-KR" altLang="en-US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어린이 식품안전」</a:t>
            </a:r>
            <a:r>
              <a:rPr lang="en-US" altLang="ko-KR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,</a:t>
            </a:r>
            <a:r>
              <a:rPr lang="ko-KR" altLang="en-US" sz="2200" dirty="0" smtClean="0"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en-US" altLang="ko-KR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『</a:t>
            </a:r>
            <a:r>
              <a:rPr lang="ko-KR" altLang="en-US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규제 및 단속 강화</a:t>
            </a:r>
            <a:r>
              <a:rPr lang="en-US" altLang="ko-KR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』</a:t>
            </a:r>
            <a:r>
              <a:rPr lang="ko-KR" altLang="en-US" sz="2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ko-KR" altLang="en-US" sz="2200" dirty="0" smtClean="0">
                <a:latin typeface="Adobe 고딕 Std B" pitchFamily="34" charset="-127"/>
                <a:ea typeface="Adobe 고딕 Std B" pitchFamily="34" charset="-127"/>
              </a:rPr>
              <a:t>시급</a:t>
            </a:r>
            <a:endParaRPr lang="en-US" altLang="ko-KR" sz="22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797" y="3212975"/>
            <a:ext cx="2029451" cy="23736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차트 2"/>
          <p:cNvGraphicFramePr/>
          <p:nvPr>
            <p:extLst>
              <p:ext uri="{D42A27DB-BD31-4B8C-83A1-F6EECF244321}">
                <p14:modId xmlns:p14="http://schemas.microsoft.com/office/powerpoint/2010/main" val="3214196833"/>
              </p:ext>
            </p:extLst>
          </p:nvPr>
        </p:nvGraphicFramePr>
        <p:xfrm>
          <a:off x="1133991" y="3043928"/>
          <a:ext cx="4196935" cy="2494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715362" y="5448105"/>
            <a:ext cx="906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err="1" smtClean="0">
                <a:latin typeface="Adobe 고딕 Std B" pitchFamily="34" charset="-127"/>
                <a:ea typeface="Adobe 고딕 Std B" pitchFamily="34" charset="-127"/>
              </a:rPr>
              <a:t>알고있다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142507" y="5448104"/>
            <a:ext cx="906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모른다</a:t>
            </a:r>
            <a:endParaRPr lang="ko-KR" altLang="en-US" sz="12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65037" y="3096395"/>
            <a:ext cx="3296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Adobe 고딕 Std B" pitchFamily="34" charset="-127"/>
                <a:ea typeface="Adobe 고딕 Std B" pitchFamily="34" charset="-127"/>
              </a:rPr>
              <a:t>「우수판매업소」에 대해 알고 있는지</a:t>
            </a:r>
            <a:endParaRPr lang="ko-KR" altLang="en-US" sz="14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126077" y="3819250"/>
            <a:ext cx="299154" cy="1476413"/>
          </a:xfrm>
          <a:prstGeom prst="rect">
            <a:avLst/>
          </a:prstGeom>
          <a:solidFill>
            <a:schemeClr val="tx2">
              <a:lumMod val="5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5297761" y="136455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4527552" y="17434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5405773" y="206774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6721610" y="243853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2371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repeatCount="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2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64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그림 6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1187624" y="425943"/>
            <a:ext cx="7263196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음식점  위생등급제」 </a:t>
            </a:r>
            <a:r>
              <a:rPr lang="ko-KR" altLang="en-US" sz="2800" dirty="0" smtClean="0">
                <a:latin typeface="Adobe 고딕 Std B" pitchFamily="34" charset="-127"/>
                <a:ea typeface="Adobe 고딕 Std B" pitchFamily="34" charset="-127"/>
              </a:rPr>
              <a:t>시행과 개선</a:t>
            </a:r>
            <a:endParaRPr lang="en-US" sz="28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453800" y="986282"/>
            <a:ext cx="84882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중독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발생은 ‘여전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 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`11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249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/7,105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, `12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266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/6,058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, `13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235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건</a:t>
            </a:r>
            <a:r>
              <a:rPr lang="en-US" altLang="ko-KR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/4,958</a:t>
            </a:r>
            <a:r>
              <a:rPr lang="ko-KR" altLang="en-US" sz="1600" b="1" dirty="0">
                <a:latin typeface="휴먼명조" panose="02010504000101010101" pitchFamily="2" charset="-127"/>
                <a:ea typeface="휴먼명조" panose="02010504000101010101" pitchFamily="2" charset="-127"/>
              </a:rPr>
              <a:t>명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서울시 등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음식점 자율위생등급제」실시 중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참여율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울시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30%)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저조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위생등급 표시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AAA, AA, A) </a:t>
            </a:r>
            <a:r>
              <a:rPr lang="ko-KR" altLang="en-US" sz="1600" b="1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→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A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등급 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=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최우수음식점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식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범사업 중인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자체사용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생등급평가제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행대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도입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예정 </a:t>
            </a: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09" name="Isosceles Triangle 1"/>
          <p:cNvSpPr/>
          <p:nvPr/>
        </p:nvSpPr>
        <p:spPr>
          <a:xfrm rot="5400000">
            <a:off x="535137" y="6266020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TextBox 109"/>
          <p:cNvSpPr txBox="1"/>
          <p:nvPr/>
        </p:nvSpPr>
        <p:spPr>
          <a:xfrm>
            <a:off x="960827" y="6121105"/>
            <a:ext cx="78747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소비자를  현혹시키는 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위생등급 표시제」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개선  및  위생관리  강화</a:t>
            </a:r>
            <a:endParaRPr lang="en-US" altLang="ko-KR" sz="20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034" y="4408006"/>
            <a:ext cx="3370144" cy="1267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2" y="2823830"/>
            <a:ext cx="1203399" cy="1205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198" y="2823830"/>
            <a:ext cx="1215820" cy="1200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5963" y="2823934"/>
            <a:ext cx="1220286" cy="1204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228965" y="4028871"/>
            <a:ext cx="29942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[</a:t>
            </a:r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서울시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시행 위생등급 표시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]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87624" y="5579917"/>
            <a:ext cx="29942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[</a:t>
            </a:r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미국 </a:t>
            </a:r>
            <a:r>
              <a:rPr lang="ko-KR" altLang="en-US" sz="12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뉴욕시</a:t>
            </a:r>
            <a:r>
              <a:rPr lang="ko-KR" altLang="en-US" sz="1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행 위생등급 표시</a:t>
            </a:r>
            <a:r>
              <a:rPr lang="en-US" altLang="ko-KR" sz="1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]</a:t>
            </a:r>
            <a:endParaRPr lang="ko-KR" altLang="en-US" sz="1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4097" name="_x193728592" descr="EMB000018a405d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545" y="2739666"/>
            <a:ext cx="3449503" cy="1368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4099" name="_x193730592" descr="EMB000018a405e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4167370"/>
            <a:ext cx="2448272" cy="178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오른쪽 화살표 23"/>
          <p:cNvSpPr/>
          <p:nvPr/>
        </p:nvSpPr>
        <p:spPr>
          <a:xfrm>
            <a:off x="2843808" y="117193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오른쪽 화살표 24"/>
          <p:cNvSpPr/>
          <p:nvPr/>
        </p:nvSpPr>
        <p:spPr>
          <a:xfrm>
            <a:off x="5860741" y="15466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7390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50"/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2" name="Diagonal Stripe 51"/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34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 rot="18948199">
              <a:off x="73224" y="198357"/>
              <a:ext cx="81229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5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국회의원</a:t>
              </a:r>
              <a:r>
                <a:rPr lang="ko-KR" altLang="en-US" sz="1200" b="1" dirty="0" smtClean="0">
                  <a:solidFill>
                    <a:srgbClr val="1D4B6D"/>
                  </a:solidFill>
                  <a:latin typeface="Adobe 고딕 Std B" pitchFamily="34" charset="-127"/>
                  <a:ea typeface="Adobe 고딕 Std B" pitchFamily="34" charset="-127"/>
                </a:rPr>
                <a:t> 이명수</a:t>
              </a:r>
              <a:endParaRPr lang="en-US" sz="1200" b="1" dirty="0">
                <a:solidFill>
                  <a:srgbClr val="1D4B6D"/>
                </a:solidFill>
                <a:latin typeface="Adobe 고딕 Std B" pitchFamily="34" charset="-127"/>
                <a:ea typeface="Adobe 고딕 Std B" pitchFamily="34" charset="-127"/>
              </a:endParaRPr>
            </a:p>
          </p:txBody>
        </p:sp>
        <p:cxnSp>
          <p:nvCxnSpPr>
            <p:cNvPr id="64" name="Straight Connector 53"/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54"/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ln w="6350">
              <a:solidFill>
                <a:srgbClr val="3692D4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그림 6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6808">
            <a:off x="16926" y="894713"/>
            <a:ext cx="365314" cy="175046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1115616" y="425943"/>
            <a:ext cx="748883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</a:t>
            </a:r>
            <a:r>
              <a:rPr lang="en-US" altLang="ko-KR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원료</a:t>
            </a:r>
            <a:r>
              <a:rPr lang="en-US" altLang="ko-KR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)</a:t>
            </a:r>
            <a:r>
              <a:rPr lang="ko-KR" altLang="en-US" sz="2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마약류  수입자유화  등  규제완화  추진」 </a:t>
            </a:r>
            <a:r>
              <a:rPr lang="ko-KR" altLang="en-US" sz="2400" dirty="0" smtClean="0">
                <a:latin typeface="Adobe 고딕 Std B" pitchFamily="34" charset="-127"/>
                <a:ea typeface="Adobe 고딕 Std B" pitchFamily="34" charset="-127"/>
              </a:rPr>
              <a:t>검토</a:t>
            </a:r>
            <a:endParaRPr lang="en-US" sz="24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482800" y="1149388"/>
            <a:ext cx="84882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의료용 마약류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프로포폴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오남용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범죄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목적의 사용 </a:t>
            </a:r>
            <a:r>
              <a:rPr lang="ko-KR" altLang="en-US" sz="16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속 증가 추세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취급자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여 개소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인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가투약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과다처방</a:t>
            </a:r>
            <a:r>
              <a:rPr lang="en-US" altLang="ko-KR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병원별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관리부실</a:t>
            </a:r>
            <a:r>
              <a:rPr lang="en-US" altLang="ko-KR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쇼핑 </a:t>
            </a:r>
            <a:r>
              <a:rPr lang="ko-KR" altLang="en-US" sz="1600" b="1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등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문제</a:t>
            </a:r>
            <a:endParaRPr lang="ko-KR" altLang="en-US" sz="16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현장단속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기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手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방식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선 위해 「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마약류 통합관리시스템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도입 예정</a:t>
            </a:r>
            <a:endParaRPr lang="ko-KR" altLang="en-US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는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원료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마약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입 자유화 방침 결정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1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차 수입업체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400%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확대」 추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09" name="Isosceles Triangle 1"/>
          <p:cNvSpPr/>
          <p:nvPr/>
        </p:nvSpPr>
        <p:spPr>
          <a:xfrm rot="5400000">
            <a:off x="721248" y="6163381"/>
            <a:ext cx="269014" cy="296098"/>
          </a:xfrm>
          <a:custGeom>
            <a:avLst/>
            <a:gdLst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1118655 w 1296144"/>
              <a:gd name="connsiteY3" fmla="*/ 1368152 h 1368152"/>
              <a:gd name="connsiteX4" fmla="*/ 648072 w 1296144"/>
              <a:gd name="connsiteY4" fmla="*/ 374700 h 1368152"/>
              <a:gd name="connsiteX5" fmla="*/ 0 w 1296144"/>
              <a:gd name="connsiteY5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72 w 1296144"/>
              <a:gd name="connsiteY3" fmla="*/ 374700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1 w 1296144"/>
              <a:gd name="connsiteY3" fmla="*/ 546165 h 1368152"/>
              <a:gd name="connsiteX4" fmla="*/ 0 w 1296144"/>
              <a:gd name="connsiteY4" fmla="*/ 1368152 h 1368152"/>
              <a:gd name="connsiteX0" fmla="*/ 0 w 1296144"/>
              <a:gd name="connsiteY0" fmla="*/ 1368152 h 1368152"/>
              <a:gd name="connsiteX1" fmla="*/ 648072 w 1296144"/>
              <a:gd name="connsiteY1" fmla="*/ 0 h 1368152"/>
              <a:gd name="connsiteX2" fmla="*/ 1296144 w 1296144"/>
              <a:gd name="connsiteY2" fmla="*/ 1368152 h 1368152"/>
              <a:gd name="connsiteX3" fmla="*/ 648082 w 1296144"/>
              <a:gd name="connsiteY3" fmla="*/ 792628 h 1368152"/>
              <a:gd name="connsiteX4" fmla="*/ 0 w 1296144"/>
              <a:gd name="connsiteY4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6144" h="1368152">
                <a:moveTo>
                  <a:pt x="0" y="1368152"/>
                </a:moveTo>
                <a:lnTo>
                  <a:pt x="648072" y="0"/>
                </a:lnTo>
                <a:lnTo>
                  <a:pt x="1296144" y="1368152"/>
                </a:lnTo>
                <a:lnTo>
                  <a:pt x="648082" y="792628"/>
                </a:lnTo>
                <a:lnTo>
                  <a:pt x="0" y="136815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TextBox 109"/>
          <p:cNvSpPr txBox="1"/>
          <p:nvPr/>
        </p:nvSpPr>
        <p:spPr>
          <a:xfrm>
            <a:off x="1074420" y="6034431"/>
            <a:ext cx="786499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국민  생명과  안전에  직결된  </a:t>
            </a:r>
            <a:r>
              <a:rPr lang="ko-KR" altLang="en-US" sz="2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「마약류  시장 자유화」</a:t>
            </a:r>
            <a:r>
              <a:rPr lang="ko-KR" altLang="en-US" sz="2000" dirty="0" smtClean="0">
                <a:latin typeface="Adobe 고딕 Std B" pitchFamily="34" charset="-127"/>
                <a:ea typeface="Adobe 고딕 Std B" pitchFamily="34" charset="-127"/>
              </a:rPr>
              <a:t>재검토 필요</a:t>
            </a:r>
            <a:endParaRPr lang="en-US" altLang="ko-KR" sz="20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20133"/>
              </p:ext>
            </p:extLst>
          </p:nvPr>
        </p:nvGraphicFramePr>
        <p:xfrm>
          <a:off x="722185" y="2727567"/>
          <a:ext cx="7825165" cy="1368152"/>
        </p:xfrm>
        <a:graphic>
          <a:graphicData uri="http://schemas.openxmlformats.org/drawingml/2006/table">
            <a:tbl>
              <a:tblPr/>
              <a:tblGrid>
                <a:gridCol w="7825165"/>
              </a:tblGrid>
              <a:tr h="1368152">
                <a:tc>
                  <a:txBody>
                    <a:bodyPr/>
                    <a:lstStyle/>
                    <a:p>
                      <a:pPr marL="0" marR="0" indent="-5842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√  </a:t>
                      </a:r>
                      <a:r>
                        <a:rPr lang="ko-KR" altLang="en-US" sz="1200" kern="0" spc="-8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“산부인과 의사 </a:t>
                      </a:r>
                      <a:r>
                        <a:rPr lang="ko-KR" altLang="en-US" sz="1200" kern="0" spc="-8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다졸람</a:t>
                      </a:r>
                      <a:r>
                        <a:rPr lang="ko-KR" altLang="en-US" sz="1200" kern="0" spc="-8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 투여 후 사망하자 시신 유기” </a:t>
                      </a:r>
                      <a:r>
                        <a:rPr lang="en-US" altLang="ko-KR" sz="1200" kern="0" spc="-8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kern="0" spc="-8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합뉴스 등</a:t>
                      </a:r>
                      <a:r>
                        <a:rPr lang="en-US" altLang="ko-KR" sz="1200" kern="0" spc="-8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`12. 8.)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-5842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√  </a:t>
                      </a:r>
                      <a:r>
                        <a:rPr lang="ko-KR" altLang="en-US" sz="1200" kern="0" spc="-1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“공중보건의</a:t>
                      </a:r>
                      <a:r>
                        <a:rPr lang="en-US" altLang="ko-KR" sz="1200" kern="0" spc="-1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kern="0" spc="-1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약류 훔쳐 투약 </a:t>
                      </a:r>
                      <a:r>
                        <a:rPr lang="en-US" altLang="ko-KR" sz="1200" kern="0" spc="-1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․․․</a:t>
                      </a:r>
                      <a:r>
                        <a:rPr lang="ko-KR" altLang="en-US" sz="1200" kern="0" spc="-1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환각상태 진료 의혹” </a:t>
                      </a:r>
                      <a:r>
                        <a:rPr lang="en-US" altLang="ko-KR" sz="1200" kern="0" spc="-1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kern="0" spc="-1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</a:t>
                      </a:r>
                      <a:r>
                        <a:rPr lang="ko-KR" altLang="en-US" sz="1200" kern="0" spc="-11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일보</a:t>
                      </a:r>
                      <a:r>
                        <a:rPr lang="en-US" altLang="ko-KR" sz="1200" kern="0" spc="-11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`13. 4.)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-22098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√  </a:t>
                      </a:r>
                      <a:r>
                        <a:rPr lang="ko-KR" altLang="en-US" sz="12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“연예인 </a:t>
                      </a:r>
                      <a:r>
                        <a:rPr lang="en-US" altLang="ko-KR" sz="12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</a:t>
                      </a:r>
                      <a:r>
                        <a:rPr lang="ko-KR" altLang="en-US" sz="12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씨 </a:t>
                      </a:r>
                      <a:r>
                        <a:rPr lang="en-US" altLang="ko-KR" sz="12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2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동안 시술 등을 목적으로 </a:t>
                      </a:r>
                      <a:r>
                        <a:rPr lang="en-US" altLang="ko-KR" sz="12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5</a:t>
                      </a:r>
                      <a:r>
                        <a:rPr lang="ko-KR" altLang="en-US" sz="12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례 </a:t>
                      </a:r>
                      <a:r>
                        <a:rPr lang="ko-KR" altLang="en-US" sz="1200" kern="0" spc="-2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포폴을</a:t>
                      </a:r>
                      <a:r>
                        <a:rPr lang="ko-KR" altLang="en-US" sz="1200" kern="0" spc="-2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맞은 혐의로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기소” 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KBS 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뉴스 등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`13. 3.)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-15240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√  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료쇼핑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200" kern="0" spc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졸피뎀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면제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간 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3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 병원에서 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,139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치 처방 받음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7" y="4305916"/>
            <a:ext cx="1333262" cy="1584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4434809"/>
            <a:ext cx="3425827" cy="14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오른쪽 화살표 15"/>
          <p:cNvSpPr/>
          <p:nvPr/>
        </p:nvSpPr>
        <p:spPr>
          <a:xfrm>
            <a:off x="2555776" y="170080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6516216" y="131038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6338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7</TotalTime>
  <Words>2010</Words>
  <Application>Microsoft Office PowerPoint</Application>
  <PresentationFormat>화면 슬라이드 쇼(4:3)</PresentationFormat>
  <Paragraphs>228</Paragraphs>
  <Slides>18</Slides>
  <Notes>11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20" baseType="lpstr"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19</cp:revision>
  <cp:lastPrinted>2014-10-06T13:06:28Z</cp:lastPrinted>
  <dcterms:created xsi:type="dcterms:W3CDTF">2014-08-24T04:56:10Z</dcterms:created>
  <dcterms:modified xsi:type="dcterms:W3CDTF">2014-10-06T13:06:35Z</dcterms:modified>
</cp:coreProperties>
</file>